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783" r:id="rId4"/>
  </p:sldMasterIdLst>
  <p:notesMasterIdLst>
    <p:notesMasterId r:id="rId9"/>
  </p:notesMasterIdLst>
  <p:sldIdLst>
    <p:sldId id="257" r:id="rId5"/>
    <p:sldId id="258" r:id="rId6"/>
    <p:sldId id="259" r:id="rId7"/>
    <p:sldId id="260" r:id="rId8"/>
  </p:sldIdLst>
  <p:sldSz cx="12192000" cy="6858000"/>
  <p:notesSz cx="6858000" cy="9144000"/>
  <p:embeddedFontLst>
    <p:embeddedFont>
      <p:font typeface="Avenir Next LT Pro" panose="020B0504020202020204" pitchFamily="34" charset="0"/>
      <p:regular r:id="rId10"/>
      <p:bold r:id="rId11"/>
      <p:italic r:id="rId12"/>
      <p:boldItalic r:id="rId13"/>
    </p:embeddedFont>
    <p:embeddedFont>
      <p:font typeface="Calibri" panose="020F050202020403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464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60" roundtripDataSignature="AMtx7mguKlQuHoHvXOqDnPr6wHHQARxte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F9B432-0D4B-FCC9-B081-E37D3BFB4E7E}" name="Sam Cavanaugh" initials="SC" userId="S::sam.cavanaugh@sbigrowth.com::5cf52223-171d-48c2-add0-8f02f84110f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615EA2-8E18-4D47-B058-78CDDF4F37BB}" v="671" dt="2023-08-15T01:10:27.443"/>
  </p1510:revLst>
</p1510:revInfo>
</file>

<file path=ppt/tableStyles.xml><?xml version="1.0" encoding="utf-8"?>
<a:tblStyleLst xmlns:a="http://schemas.openxmlformats.org/drawingml/2006/main" def="{09F6DB6F-C029-4387-A026-99BA50904876}">
  <a:tblStyle styleId="{09F6DB6F-C029-4387-A026-99BA5090487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62B9B8F2-45F4-4B9F-9B53-1026B6F3C00F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530A983-AFB2-43AC-9F4B-CABB91F69D6D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EF9"/>
          </a:solidFill>
        </a:fill>
      </a:tcStyle>
    </a:wholeTbl>
    <a:band1H>
      <a:tcTxStyle/>
      <a:tcStyle>
        <a:tcBdr/>
        <a:fill>
          <a:solidFill>
            <a:srgbClr val="CBDBF3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DBF3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566" autoAdjust="0"/>
  </p:normalViewPr>
  <p:slideViewPr>
    <p:cSldViewPr snapToGrid="0">
      <p:cViewPr>
        <p:scale>
          <a:sx n="66" d="100"/>
          <a:sy n="66" d="100"/>
        </p:scale>
        <p:origin x="696" y="431"/>
      </p:cViewPr>
      <p:guideLst>
        <p:guide orient="horz" pos="146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6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66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6.fntdata"/><Relationship Id="rId61" Type="http://schemas.openxmlformats.org/officeDocument/2006/relationships/presProps" Target="presProps.xml"/><Relationship Id="rId10" Type="http://schemas.openxmlformats.org/officeDocument/2006/relationships/font" Target="fonts/font1.fntdata"/><Relationship Id="rId60" Type="http://customschemas.google.com/relationships/presentationmetadata" Target="metadata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6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e Lingebach" userId="8345a2a5-a067-4759-8441-be0dd7848035" providerId="ADAL" clId="{C3615EA2-8E18-4D47-B058-78CDDF4F37BB}"/>
    <pc:docChg chg="undo redo custSel addSld delSld modSld delMainMaster replTag">
      <pc:chgData name="Dave Lingebach" userId="8345a2a5-a067-4759-8441-be0dd7848035" providerId="ADAL" clId="{C3615EA2-8E18-4D47-B058-78CDDF4F37BB}" dt="2023-08-15T01:10:27.443" v="6736" actId="13782"/>
      <pc:docMkLst>
        <pc:docMk/>
      </pc:docMkLst>
      <pc:sldChg chg="addSp delSp modSp mod">
        <pc:chgData name="Dave Lingebach" userId="8345a2a5-a067-4759-8441-be0dd7848035" providerId="ADAL" clId="{C3615EA2-8E18-4D47-B058-78CDDF4F37BB}" dt="2023-08-11T12:52:47.777" v="34"/>
        <pc:sldMkLst>
          <pc:docMk/>
          <pc:sldMk cId="1906600233" sldId="257"/>
        </pc:sldMkLst>
        <pc:spChg chg="mod">
          <ac:chgData name="Dave Lingebach" userId="8345a2a5-a067-4759-8441-be0dd7848035" providerId="ADAL" clId="{C3615EA2-8E18-4D47-B058-78CDDF4F37BB}" dt="2023-08-11T12:52:47.760" v="7" actId="948"/>
          <ac:spMkLst>
            <pc:docMk/>
            <pc:sldMk cId="1906600233" sldId="257"/>
            <ac:spMk id="2" creationId="{D2592C9A-2923-003D-E7DB-2FC9C158B534}"/>
          </ac:spMkLst>
        </pc:spChg>
        <pc:spChg chg="add del mod modVis">
          <ac:chgData name="Dave Lingebach" userId="8345a2a5-a067-4759-8441-be0dd7848035" providerId="ADAL" clId="{C3615EA2-8E18-4D47-B058-78CDDF4F37BB}" dt="2023-08-11T12:52:47.777" v="32"/>
          <ac:spMkLst>
            <pc:docMk/>
            <pc:sldMk cId="1906600233" sldId="257"/>
            <ac:spMk id="11" creationId="{F02EF520-56AD-BFED-1512-2E05FC9D31E5}"/>
          </ac:spMkLst>
        </pc:spChg>
        <pc:graphicFrameChg chg="mod">
          <ac:chgData name="Dave Lingebach" userId="8345a2a5-a067-4759-8441-be0dd7848035" providerId="ADAL" clId="{C3615EA2-8E18-4D47-B058-78CDDF4F37BB}" dt="2023-08-11T12:52:47.777" v="34"/>
          <ac:graphicFrameMkLst>
            <pc:docMk/>
            <pc:sldMk cId="1906600233" sldId="257"/>
            <ac:graphicFrameMk id="5" creationId="{2ABE25E8-B4A0-CAA0-D833-DEAC6A217AA5}"/>
          </ac:graphicFrameMkLst>
        </pc:graphicFrameChg>
      </pc:sldChg>
      <pc:sldChg chg="del">
        <pc:chgData name="Dave Lingebach" userId="8345a2a5-a067-4759-8441-be0dd7848035" providerId="ADAL" clId="{C3615EA2-8E18-4D47-B058-78CDDF4F37BB}" dt="2023-08-11T12:52:43.210" v="0" actId="47"/>
        <pc:sldMkLst>
          <pc:docMk/>
          <pc:sldMk cId="0" sldId="258"/>
        </pc:sldMkLst>
      </pc:sldChg>
      <pc:sldChg chg="addSp delSp modSp new add mod">
        <pc:chgData name="Dave Lingebach" userId="8345a2a5-a067-4759-8441-be0dd7848035" providerId="ADAL" clId="{C3615EA2-8E18-4D47-B058-78CDDF4F37BB}" dt="2023-08-15T00:25:19.399" v="6654" actId="20577"/>
        <pc:sldMkLst>
          <pc:docMk/>
          <pc:sldMk cId="3719928230" sldId="258"/>
        </pc:sldMkLst>
        <pc:spChg chg="mod">
          <ac:chgData name="Dave Lingebach" userId="8345a2a5-a067-4759-8441-be0dd7848035" providerId="ADAL" clId="{C3615EA2-8E18-4D47-B058-78CDDF4F37BB}" dt="2023-08-14T21:57:55.629" v="3750" actId="948"/>
          <ac:spMkLst>
            <pc:docMk/>
            <pc:sldMk cId="3719928230" sldId="258"/>
            <ac:spMk id="2" creationId="{8AC05199-F028-C26E-6F5A-C51914EF779B}"/>
          </ac:spMkLst>
        </pc:spChg>
        <pc:spChg chg="add mod">
          <ac:chgData name="Dave Lingebach" userId="8345a2a5-a067-4759-8441-be0dd7848035" providerId="ADAL" clId="{C3615EA2-8E18-4D47-B058-78CDDF4F37BB}" dt="2023-08-14T21:11:30.868" v="80" actId="12788"/>
          <ac:spMkLst>
            <pc:docMk/>
            <pc:sldMk cId="3719928230" sldId="258"/>
            <ac:spMk id="10" creationId="{8B79D19E-CA16-5AA1-2B62-68D71F6E7CE6}"/>
          </ac:spMkLst>
        </pc:spChg>
        <pc:spChg chg="add mod">
          <ac:chgData name="Dave Lingebach" userId="8345a2a5-a067-4759-8441-be0dd7848035" providerId="ADAL" clId="{C3615EA2-8E18-4D47-B058-78CDDF4F37BB}" dt="2023-08-14T21:11:35.631" v="82" actId="465"/>
          <ac:spMkLst>
            <pc:docMk/>
            <pc:sldMk cId="3719928230" sldId="258"/>
            <ac:spMk id="11" creationId="{49620D75-ABC1-B368-62E3-B6E6D4894F1D}"/>
          </ac:spMkLst>
        </pc:spChg>
        <pc:spChg chg="add mod">
          <ac:chgData name="Dave Lingebach" userId="8345a2a5-a067-4759-8441-be0dd7848035" providerId="ADAL" clId="{C3615EA2-8E18-4D47-B058-78CDDF4F37BB}" dt="2023-08-14T22:04:37.926" v="4374" actId="1076"/>
          <ac:spMkLst>
            <pc:docMk/>
            <pc:sldMk cId="3719928230" sldId="258"/>
            <ac:spMk id="12" creationId="{9F175713-8596-C4B2-2573-8B37B7ED0B10}"/>
          </ac:spMkLst>
        </pc:spChg>
        <pc:spChg chg="add mod">
          <ac:chgData name="Dave Lingebach" userId="8345a2a5-a067-4759-8441-be0dd7848035" providerId="ADAL" clId="{C3615EA2-8E18-4D47-B058-78CDDF4F37BB}" dt="2023-08-14T22:04:37.259" v="4373" actId="1076"/>
          <ac:spMkLst>
            <pc:docMk/>
            <pc:sldMk cId="3719928230" sldId="258"/>
            <ac:spMk id="13" creationId="{79ACD19A-9B23-FFB5-7E0F-08786F584E41}"/>
          </ac:spMkLst>
        </pc:spChg>
        <pc:spChg chg="add mod">
          <ac:chgData name="Dave Lingebach" userId="8345a2a5-a067-4759-8441-be0dd7848035" providerId="ADAL" clId="{C3615EA2-8E18-4D47-B058-78CDDF4F37BB}" dt="2023-08-14T22:04:36.980" v="4372" actId="1076"/>
          <ac:spMkLst>
            <pc:docMk/>
            <pc:sldMk cId="3719928230" sldId="258"/>
            <ac:spMk id="14" creationId="{C27FF809-5C3A-68D1-9CB6-2C3E587E1144}"/>
          </ac:spMkLst>
        </pc:spChg>
        <pc:spChg chg="add del mod modVis">
          <ac:chgData name="Dave Lingebach" userId="8345a2a5-a067-4759-8441-be0dd7848035" providerId="ADAL" clId="{C3615EA2-8E18-4D47-B058-78CDDF4F37BB}" dt="2023-08-14T21:46:28.095" v="1909"/>
          <ac:spMkLst>
            <pc:docMk/>
            <pc:sldMk cId="3719928230" sldId="258"/>
            <ac:spMk id="16" creationId="{A10E86E8-C757-EE45-462D-8B798B5E94E3}"/>
          </ac:spMkLst>
        </pc:spChg>
        <pc:spChg chg="add del mod modVis">
          <ac:chgData name="Dave Lingebach" userId="8345a2a5-a067-4759-8441-be0dd7848035" providerId="ADAL" clId="{C3615EA2-8E18-4D47-B058-78CDDF4F37BB}" dt="2023-08-14T21:46:29.243" v="1939"/>
          <ac:spMkLst>
            <pc:docMk/>
            <pc:sldMk cId="3719928230" sldId="258"/>
            <ac:spMk id="17" creationId="{9F77E3D0-6FA1-515E-09DB-7A67F037EEDA}"/>
          </ac:spMkLst>
        </pc:spChg>
        <pc:spChg chg="add del mod modVis">
          <ac:chgData name="Dave Lingebach" userId="8345a2a5-a067-4759-8441-be0dd7848035" providerId="ADAL" clId="{C3615EA2-8E18-4D47-B058-78CDDF4F37BB}" dt="2023-08-14T21:46:30.198" v="1969"/>
          <ac:spMkLst>
            <pc:docMk/>
            <pc:sldMk cId="3719928230" sldId="258"/>
            <ac:spMk id="18" creationId="{208B0512-9EF4-833D-36F4-52CFC89E3B83}"/>
          </ac:spMkLst>
        </pc:spChg>
        <pc:spChg chg="add del mod modVis">
          <ac:chgData name="Dave Lingebach" userId="8345a2a5-a067-4759-8441-be0dd7848035" providerId="ADAL" clId="{C3615EA2-8E18-4D47-B058-78CDDF4F37BB}" dt="2023-08-14T21:50:21.516" v="2060"/>
          <ac:spMkLst>
            <pc:docMk/>
            <pc:sldMk cId="3719928230" sldId="258"/>
            <ac:spMk id="19" creationId="{1376925E-BC7A-2F06-5711-4D77BC8A4581}"/>
          </ac:spMkLst>
        </pc:spChg>
        <pc:spChg chg="add del mod modVis">
          <ac:chgData name="Dave Lingebach" userId="8345a2a5-a067-4759-8441-be0dd7848035" providerId="ADAL" clId="{C3615EA2-8E18-4D47-B058-78CDDF4F37BB}" dt="2023-08-14T21:50:23.762" v="2092"/>
          <ac:spMkLst>
            <pc:docMk/>
            <pc:sldMk cId="3719928230" sldId="258"/>
            <ac:spMk id="20" creationId="{F108782B-AF9E-90AD-B486-7517343DEC13}"/>
          </ac:spMkLst>
        </pc:spChg>
        <pc:spChg chg="add del mod modVis">
          <ac:chgData name="Dave Lingebach" userId="8345a2a5-a067-4759-8441-be0dd7848035" providerId="ADAL" clId="{C3615EA2-8E18-4D47-B058-78CDDF4F37BB}" dt="2023-08-14T21:50:27.454" v="2125"/>
          <ac:spMkLst>
            <pc:docMk/>
            <pc:sldMk cId="3719928230" sldId="258"/>
            <ac:spMk id="21" creationId="{E17FB3CA-3B67-B414-CCC7-C6D9FAD231AD}"/>
          </ac:spMkLst>
        </pc:spChg>
        <pc:spChg chg="add del mod modVis">
          <ac:chgData name="Dave Lingebach" userId="8345a2a5-a067-4759-8441-be0dd7848035" providerId="ADAL" clId="{C3615EA2-8E18-4D47-B058-78CDDF4F37BB}" dt="2023-08-14T21:50:28.439" v="2154"/>
          <ac:spMkLst>
            <pc:docMk/>
            <pc:sldMk cId="3719928230" sldId="258"/>
            <ac:spMk id="22" creationId="{E3C48471-C939-F689-F6DE-1A670E2CFA09}"/>
          </ac:spMkLst>
        </pc:spChg>
        <pc:spChg chg="add del mod modVis">
          <ac:chgData name="Dave Lingebach" userId="8345a2a5-a067-4759-8441-be0dd7848035" providerId="ADAL" clId="{C3615EA2-8E18-4D47-B058-78CDDF4F37BB}" dt="2023-08-14T21:50:31.114" v="2193"/>
          <ac:spMkLst>
            <pc:docMk/>
            <pc:sldMk cId="3719928230" sldId="258"/>
            <ac:spMk id="23" creationId="{130673C7-9618-C013-90BF-43034400CBD0}"/>
          </ac:spMkLst>
        </pc:spChg>
        <pc:spChg chg="add del mod modVis">
          <ac:chgData name="Dave Lingebach" userId="8345a2a5-a067-4759-8441-be0dd7848035" providerId="ADAL" clId="{C3615EA2-8E18-4D47-B058-78CDDF4F37BB}" dt="2023-08-14T21:50:31.953" v="2224"/>
          <ac:spMkLst>
            <pc:docMk/>
            <pc:sldMk cId="3719928230" sldId="258"/>
            <ac:spMk id="24" creationId="{790A0FB6-EB25-071C-FDD4-2B3F061AB0EA}"/>
          </ac:spMkLst>
        </pc:spChg>
        <pc:spChg chg="add del mod modVis">
          <ac:chgData name="Dave Lingebach" userId="8345a2a5-a067-4759-8441-be0dd7848035" providerId="ADAL" clId="{C3615EA2-8E18-4D47-B058-78CDDF4F37BB}" dt="2023-08-14T21:50:33.750" v="2262"/>
          <ac:spMkLst>
            <pc:docMk/>
            <pc:sldMk cId="3719928230" sldId="258"/>
            <ac:spMk id="25" creationId="{AB80734D-23DD-DF48-F9AA-F3D93F8B7792}"/>
          </ac:spMkLst>
        </pc:spChg>
        <pc:spChg chg="add del mod modVis">
          <ac:chgData name="Dave Lingebach" userId="8345a2a5-a067-4759-8441-be0dd7848035" providerId="ADAL" clId="{C3615EA2-8E18-4D47-B058-78CDDF4F37BB}" dt="2023-08-14T21:50:38.261" v="2304"/>
          <ac:spMkLst>
            <pc:docMk/>
            <pc:sldMk cId="3719928230" sldId="258"/>
            <ac:spMk id="26" creationId="{D34F9BB8-598D-9454-5366-56C25EE1FBD7}"/>
          </ac:spMkLst>
        </pc:spChg>
        <pc:spChg chg="add del mod modVis">
          <ac:chgData name="Dave Lingebach" userId="8345a2a5-a067-4759-8441-be0dd7848035" providerId="ADAL" clId="{C3615EA2-8E18-4D47-B058-78CDDF4F37BB}" dt="2023-08-14T21:50:39.325" v="2333"/>
          <ac:spMkLst>
            <pc:docMk/>
            <pc:sldMk cId="3719928230" sldId="258"/>
            <ac:spMk id="27" creationId="{18B204C2-C021-0F67-8998-DE028194A12F}"/>
          </ac:spMkLst>
        </pc:spChg>
        <pc:spChg chg="add del mod modVis">
          <ac:chgData name="Dave Lingebach" userId="8345a2a5-a067-4759-8441-be0dd7848035" providerId="ADAL" clId="{C3615EA2-8E18-4D47-B058-78CDDF4F37BB}" dt="2023-08-14T21:52:07.345" v="2475"/>
          <ac:spMkLst>
            <pc:docMk/>
            <pc:sldMk cId="3719928230" sldId="258"/>
            <ac:spMk id="28" creationId="{86009505-CDE7-E4C6-73EE-B8F3DC0318B5}"/>
          </ac:spMkLst>
        </pc:spChg>
        <pc:spChg chg="add del mod modVis">
          <ac:chgData name="Dave Lingebach" userId="8345a2a5-a067-4759-8441-be0dd7848035" providerId="ADAL" clId="{C3615EA2-8E18-4D47-B058-78CDDF4F37BB}" dt="2023-08-14T21:52:14.349" v="2531"/>
          <ac:spMkLst>
            <pc:docMk/>
            <pc:sldMk cId="3719928230" sldId="258"/>
            <ac:spMk id="29" creationId="{A8AF91E2-9217-26C6-3DD3-D0D547CA846F}"/>
          </ac:spMkLst>
        </pc:spChg>
        <pc:spChg chg="add del mod modVis">
          <ac:chgData name="Dave Lingebach" userId="8345a2a5-a067-4759-8441-be0dd7848035" providerId="ADAL" clId="{C3615EA2-8E18-4D47-B058-78CDDF4F37BB}" dt="2023-08-14T21:52:24.172" v="2560"/>
          <ac:spMkLst>
            <pc:docMk/>
            <pc:sldMk cId="3719928230" sldId="258"/>
            <ac:spMk id="30" creationId="{FBEC151B-576D-7588-36CD-EDA7EE2F4966}"/>
          </ac:spMkLst>
        </pc:spChg>
        <pc:spChg chg="add del mod modVis">
          <ac:chgData name="Dave Lingebach" userId="8345a2a5-a067-4759-8441-be0dd7848035" providerId="ADAL" clId="{C3615EA2-8E18-4D47-B058-78CDDF4F37BB}" dt="2023-08-14T21:52:24.923" v="2589"/>
          <ac:spMkLst>
            <pc:docMk/>
            <pc:sldMk cId="3719928230" sldId="258"/>
            <ac:spMk id="31" creationId="{91AFAA03-D400-429A-4A64-E06EC027A1F6}"/>
          </ac:spMkLst>
        </pc:spChg>
        <pc:spChg chg="add del mod modVis">
          <ac:chgData name="Dave Lingebach" userId="8345a2a5-a067-4759-8441-be0dd7848035" providerId="ADAL" clId="{C3615EA2-8E18-4D47-B058-78CDDF4F37BB}" dt="2023-08-14T21:52:57.607" v="2658"/>
          <ac:spMkLst>
            <pc:docMk/>
            <pc:sldMk cId="3719928230" sldId="258"/>
            <ac:spMk id="32" creationId="{34DD6671-59E6-BDE8-44A6-EFAB98223F3A}"/>
          </ac:spMkLst>
        </pc:spChg>
        <pc:spChg chg="add del mod modVis">
          <ac:chgData name="Dave Lingebach" userId="8345a2a5-a067-4759-8441-be0dd7848035" providerId="ADAL" clId="{C3615EA2-8E18-4D47-B058-78CDDF4F37BB}" dt="2023-08-14T21:53:00.192" v="2694"/>
          <ac:spMkLst>
            <pc:docMk/>
            <pc:sldMk cId="3719928230" sldId="258"/>
            <ac:spMk id="33" creationId="{4A4BD7A9-56E0-B876-983A-D01B4CE088ED}"/>
          </ac:spMkLst>
        </pc:spChg>
        <pc:spChg chg="add del mod modVis">
          <ac:chgData name="Dave Lingebach" userId="8345a2a5-a067-4759-8441-be0dd7848035" providerId="ADAL" clId="{C3615EA2-8E18-4D47-B058-78CDDF4F37BB}" dt="2023-08-14T21:53:01.433" v="2726"/>
          <ac:spMkLst>
            <pc:docMk/>
            <pc:sldMk cId="3719928230" sldId="258"/>
            <ac:spMk id="34" creationId="{A4F4663D-3FED-C521-22EB-28F66F1D39CF}"/>
          </ac:spMkLst>
        </pc:spChg>
        <pc:spChg chg="add del mod modVis">
          <ac:chgData name="Dave Lingebach" userId="8345a2a5-a067-4759-8441-be0dd7848035" providerId="ADAL" clId="{C3615EA2-8E18-4D47-B058-78CDDF4F37BB}" dt="2023-08-14T21:53:02.096" v="2759"/>
          <ac:spMkLst>
            <pc:docMk/>
            <pc:sldMk cId="3719928230" sldId="258"/>
            <ac:spMk id="35" creationId="{F269FCBD-28B0-0845-D912-9C78FDFF0C1E}"/>
          </ac:spMkLst>
        </pc:spChg>
        <pc:spChg chg="add del mod modVis">
          <ac:chgData name="Dave Lingebach" userId="8345a2a5-a067-4759-8441-be0dd7848035" providerId="ADAL" clId="{C3615EA2-8E18-4D47-B058-78CDDF4F37BB}" dt="2023-08-14T21:53:04.440" v="2799"/>
          <ac:spMkLst>
            <pc:docMk/>
            <pc:sldMk cId="3719928230" sldId="258"/>
            <ac:spMk id="36" creationId="{CE14B069-E18F-072E-616C-059DE16592D7}"/>
          </ac:spMkLst>
        </pc:spChg>
        <pc:spChg chg="add del mod modVis">
          <ac:chgData name="Dave Lingebach" userId="8345a2a5-a067-4759-8441-be0dd7848035" providerId="ADAL" clId="{C3615EA2-8E18-4D47-B058-78CDDF4F37BB}" dt="2023-08-14T21:53:09.862" v="2849"/>
          <ac:spMkLst>
            <pc:docMk/>
            <pc:sldMk cId="3719928230" sldId="258"/>
            <ac:spMk id="37" creationId="{52C62B1F-CFBA-5BF7-E8E0-EB6287755F60}"/>
          </ac:spMkLst>
        </pc:spChg>
        <pc:spChg chg="add del mod modVis">
          <ac:chgData name="Dave Lingebach" userId="8345a2a5-a067-4759-8441-be0dd7848035" providerId="ADAL" clId="{C3615EA2-8E18-4D47-B058-78CDDF4F37BB}" dt="2023-08-14T21:53:17.582" v="2879"/>
          <ac:spMkLst>
            <pc:docMk/>
            <pc:sldMk cId="3719928230" sldId="258"/>
            <ac:spMk id="38" creationId="{B16B2902-807E-E4CC-F5CA-17E87DF4842C}"/>
          </ac:spMkLst>
        </pc:spChg>
        <pc:spChg chg="add del mod modVis">
          <ac:chgData name="Dave Lingebach" userId="8345a2a5-a067-4759-8441-be0dd7848035" providerId="ADAL" clId="{C3615EA2-8E18-4D47-B058-78CDDF4F37BB}" dt="2023-08-14T21:53:18.343" v="2909"/>
          <ac:spMkLst>
            <pc:docMk/>
            <pc:sldMk cId="3719928230" sldId="258"/>
            <ac:spMk id="39" creationId="{707C318B-8DBA-ED82-BCBA-C18C97B48BAB}"/>
          </ac:spMkLst>
        </pc:spChg>
        <pc:spChg chg="add del mod modVis">
          <ac:chgData name="Dave Lingebach" userId="8345a2a5-a067-4759-8441-be0dd7848035" providerId="ADAL" clId="{C3615EA2-8E18-4D47-B058-78CDDF4F37BB}" dt="2023-08-14T21:53:19.225" v="2938"/>
          <ac:spMkLst>
            <pc:docMk/>
            <pc:sldMk cId="3719928230" sldId="258"/>
            <ac:spMk id="40" creationId="{4C6987A6-1860-6246-F326-EF29AD60B2E3}"/>
          </ac:spMkLst>
        </pc:spChg>
        <pc:spChg chg="add del mod modVis">
          <ac:chgData name="Dave Lingebach" userId="8345a2a5-a067-4759-8441-be0dd7848035" providerId="ADAL" clId="{C3615EA2-8E18-4D47-B058-78CDDF4F37BB}" dt="2023-08-14T21:53:21.573" v="2967"/>
          <ac:spMkLst>
            <pc:docMk/>
            <pc:sldMk cId="3719928230" sldId="258"/>
            <ac:spMk id="41" creationId="{22E57CD5-19D2-E692-D320-16A66C914D16}"/>
          </ac:spMkLst>
        </pc:spChg>
        <pc:spChg chg="add del mod modVis">
          <ac:chgData name="Dave Lingebach" userId="8345a2a5-a067-4759-8441-be0dd7848035" providerId="ADAL" clId="{C3615EA2-8E18-4D47-B058-78CDDF4F37BB}" dt="2023-08-14T21:53:23.098" v="3000"/>
          <ac:spMkLst>
            <pc:docMk/>
            <pc:sldMk cId="3719928230" sldId="258"/>
            <ac:spMk id="42" creationId="{957CD5D9-9F68-4738-4EC6-C8785E6CEB76}"/>
          </ac:spMkLst>
        </pc:spChg>
        <pc:spChg chg="add del mod modVis">
          <ac:chgData name="Dave Lingebach" userId="8345a2a5-a067-4759-8441-be0dd7848035" providerId="ADAL" clId="{C3615EA2-8E18-4D47-B058-78CDDF4F37BB}" dt="2023-08-14T21:53:24.417" v="3034"/>
          <ac:spMkLst>
            <pc:docMk/>
            <pc:sldMk cId="3719928230" sldId="258"/>
            <ac:spMk id="43" creationId="{5B1C3F72-98B3-2CF6-07B4-ACFEE96E13DD}"/>
          </ac:spMkLst>
        </pc:spChg>
        <pc:spChg chg="add del mod modVis">
          <ac:chgData name="Dave Lingebach" userId="8345a2a5-a067-4759-8441-be0dd7848035" providerId="ADAL" clId="{C3615EA2-8E18-4D47-B058-78CDDF4F37BB}" dt="2023-08-14T21:53:49.204" v="3068"/>
          <ac:spMkLst>
            <pc:docMk/>
            <pc:sldMk cId="3719928230" sldId="258"/>
            <ac:spMk id="44" creationId="{427B1652-A0C2-70A8-B7ED-A39FB00A53C2}"/>
          </ac:spMkLst>
        </pc:spChg>
        <pc:spChg chg="add del mod modVis">
          <ac:chgData name="Dave Lingebach" userId="8345a2a5-a067-4759-8441-be0dd7848035" providerId="ADAL" clId="{C3615EA2-8E18-4D47-B058-78CDDF4F37BB}" dt="2023-08-14T21:53:51.705" v="3104"/>
          <ac:spMkLst>
            <pc:docMk/>
            <pc:sldMk cId="3719928230" sldId="258"/>
            <ac:spMk id="45" creationId="{AFEB85BC-BFDD-C741-C26A-F3978726E8B2}"/>
          </ac:spMkLst>
        </pc:spChg>
        <pc:spChg chg="add del mod modVis">
          <ac:chgData name="Dave Lingebach" userId="8345a2a5-a067-4759-8441-be0dd7848035" providerId="ADAL" clId="{C3615EA2-8E18-4D47-B058-78CDDF4F37BB}" dt="2023-08-14T21:53:55.362" v="3133"/>
          <ac:spMkLst>
            <pc:docMk/>
            <pc:sldMk cId="3719928230" sldId="258"/>
            <ac:spMk id="46" creationId="{DBB076B6-7DB0-9F35-D9BE-333E3E0CB89E}"/>
          </ac:spMkLst>
        </pc:spChg>
        <pc:spChg chg="add del mod modVis">
          <ac:chgData name="Dave Lingebach" userId="8345a2a5-a067-4759-8441-be0dd7848035" providerId="ADAL" clId="{C3615EA2-8E18-4D47-B058-78CDDF4F37BB}" dt="2023-08-14T21:54:29.850" v="3181"/>
          <ac:spMkLst>
            <pc:docMk/>
            <pc:sldMk cId="3719928230" sldId="258"/>
            <ac:spMk id="47" creationId="{E67E2AC4-3CED-5066-85A9-3151C82B6D10}"/>
          </ac:spMkLst>
        </pc:spChg>
        <pc:spChg chg="add del mod modVis">
          <ac:chgData name="Dave Lingebach" userId="8345a2a5-a067-4759-8441-be0dd7848035" providerId="ADAL" clId="{C3615EA2-8E18-4D47-B058-78CDDF4F37BB}" dt="2023-08-14T21:54:33.303" v="3218"/>
          <ac:spMkLst>
            <pc:docMk/>
            <pc:sldMk cId="3719928230" sldId="258"/>
            <ac:spMk id="48" creationId="{1FD6D670-0F6B-326C-59C9-27D531076DE6}"/>
          </ac:spMkLst>
        </pc:spChg>
        <pc:spChg chg="add del mod modVis">
          <ac:chgData name="Dave Lingebach" userId="8345a2a5-a067-4759-8441-be0dd7848035" providerId="ADAL" clId="{C3615EA2-8E18-4D47-B058-78CDDF4F37BB}" dt="2023-08-14T21:54:34.348" v="3247"/>
          <ac:spMkLst>
            <pc:docMk/>
            <pc:sldMk cId="3719928230" sldId="258"/>
            <ac:spMk id="49" creationId="{5C346B49-BE00-880F-2479-46B272320301}"/>
          </ac:spMkLst>
        </pc:spChg>
        <pc:spChg chg="add del mod modVis">
          <ac:chgData name="Dave Lingebach" userId="8345a2a5-a067-4759-8441-be0dd7848035" providerId="ADAL" clId="{C3615EA2-8E18-4D47-B058-78CDDF4F37BB}" dt="2023-08-14T21:54:34.844" v="3276"/>
          <ac:spMkLst>
            <pc:docMk/>
            <pc:sldMk cId="3719928230" sldId="258"/>
            <ac:spMk id="50" creationId="{224A754F-4795-E6D3-100B-FFA181D762F1}"/>
          </ac:spMkLst>
        </pc:spChg>
        <pc:spChg chg="add del mod modVis">
          <ac:chgData name="Dave Lingebach" userId="8345a2a5-a067-4759-8441-be0dd7848035" providerId="ADAL" clId="{C3615EA2-8E18-4D47-B058-78CDDF4F37BB}" dt="2023-08-14T21:54:36.760" v="3313"/>
          <ac:spMkLst>
            <pc:docMk/>
            <pc:sldMk cId="3719928230" sldId="258"/>
            <ac:spMk id="51" creationId="{674674DB-6FF8-D893-4E3E-A98B0D8AF87A}"/>
          </ac:spMkLst>
        </pc:spChg>
        <pc:spChg chg="add del mod modVis">
          <ac:chgData name="Dave Lingebach" userId="8345a2a5-a067-4759-8441-be0dd7848035" providerId="ADAL" clId="{C3615EA2-8E18-4D47-B058-78CDDF4F37BB}" dt="2023-08-14T21:54:37.860" v="3343"/>
          <ac:spMkLst>
            <pc:docMk/>
            <pc:sldMk cId="3719928230" sldId="258"/>
            <ac:spMk id="52" creationId="{57A9B295-A856-A496-6DB3-F2C6B8E5B70C}"/>
          </ac:spMkLst>
        </pc:spChg>
        <pc:spChg chg="add del mod modVis">
          <ac:chgData name="Dave Lingebach" userId="8345a2a5-a067-4759-8441-be0dd7848035" providerId="ADAL" clId="{C3615EA2-8E18-4D47-B058-78CDDF4F37BB}" dt="2023-08-14T21:54:39.427" v="3375"/>
          <ac:spMkLst>
            <pc:docMk/>
            <pc:sldMk cId="3719928230" sldId="258"/>
            <ac:spMk id="53" creationId="{B7661ED7-E145-4E19-D2E3-38DCC0A62329}"/>
          </ac:spMkLst>
        </pc:spChg>
        <pc:spChg chg="add del mod modVis">
          <ac:chgData name="Dave Lingebach" userId="8345a2a5-a067-4759-8441-be0dd7848035" providerId="ADAL" clId="{C3615EA2-8E18-4D47-B058-78CDDF4F37BB}" dt="2023-08-14T21:54:41.465" v="3404"/>
          <ac:spMkLst>
            <pc:docMk/>
            <pc:sldMk cId="3719928230" sldId="258"/>
            <ac:spMk id="54" creationId="{7CFE298C-53C0-DD9B-CE52-631511199D86}"/>
          </ac:spMkLst>
        </pc:spChg>
        <pc:spChg chg="add del mod modVis">
          <ac:chgData name="Dave Lingebach" userId="8345a2a5-a067-4759-8441-be0dd7848035" providerId="ADAL" clId="{C3615EA2-8E18-4D47-B058-78CDDF4F37BB}" dt="2023-08-14T21:55:11.421" v="3433"/>
          <ac:spMkLst>
            <pc:docMk/>
            <pc:sldMk cId="3719928230" sldId="258"/>
            <ac:spMk id="55" creationId="{63313D68-6C2D-C52A-E0BE-69F5C675A067}"/>
          </ac:spMkLst>
        </pc:spChg>
        <pc:spChg chg="add del mod modVis">
          <ac:chgData name="Dave Lingebach" userId="8345a2a5-a067-4759-8441-be0dd7848035" providerId="ADAL" clId="{C3615EA2-8E18-4D47-B058-78CDDF4F37BB}" dt="2023-08-14T21:55:13.347" v="3466"/>
          <ac:spMkLst>
            <pc:docMk/>
            <pc:sldMk cId="3719928230" sldId="258"/>
            <ac:spMk id="56" creationId="{EEE46E01-7F58-E9A7-2EA5-B40D1ED8A21E}"/>
          </ac:spMkLst>
        </pc:spChg>
        <pc:spChg chg="add del mod modVis">
          <ac:chgData name="Dave Lingebach" userId="8345a2a5-a067-4759-8441-be0dd7848035" providerId="ADAL" clId="{C3615EA2-8E18-4D47-B058-78CDDF4F37BB}" dt="2023-08-14T21:55:15.497" v="3503"/>
          <ac:spMkLst>
            <pc:docMk/>
            <pc:sldMk cId="3719928230" sldId="258"/>
            <ac:spMk id="57" creationId="{AC5A2877-204F-17E9-2B54-B954AC4783E9}"/>
          </ac:spMkLst>
        </pc:spChg>
        <pc:spChg chg="add del mod modVis">
          <ac:chgData name="Dave Lingebach" userId="8345a2a5-a067-4759-8441-be0dd7848035" providerId="ADAL" clId="{C3615EA2-8E18-4D47-B058-78CDDF4F37BB}" dt="2023-08-14T21:55:16.427" v="3534"/>
          <ac:spMkLst>
            <pc:docMk/>
            <pc:sldMk cId="3719928230" sldId="258"/>
            <ac:spMk id="58" creationId="{C5FC8162-2EDD-FC55-B045-D0DE41261BC0}"/>
          </ac:spMkLst>
        </pc:spChg>
        <pc:spChg chg="add del mod modVis">
          <ac:chgData name="Dave Lingebach" userId="8345a2a5-a067-4759-8441-be0dd7848035" providerId="ADAL" clId="{C3615EA2-8E18-4D47-B058-78CDDF4F37BB}" dt="2023-08-14T21:55:17.596" v="3567"/>
          <ac:spMkLst>
            <pc:docMk/>
            <pc:sldMk cId="3719928230" sldId="258"/>
            <ac:spMk id="59" creationId="{0D911495-8665-243C-1F77-5A8189E6F90F}"/>
          </ac:spMkLst>
        </pc:spChg>
        <pc:spChg chg="add del mod modVis">
          <ac:chgData name="Dave Lingebach" userId="8345a2a5-a067-4759-8441-be0dd7848035" providerId="ADAL" clId="{C3615EA2-8E18-4D47-B058-78CDDF4F37BB}" dt="2023-08-14T21:57:44.186" v="3701"/>
          <ac:spMkLst>
            <pc:docMk/>
            <pc:sldMk cId="3719928230" sldId="258"/>
            <ac:spMk id="60" creationId="{E22B67BB-A396-A8D5-19BD-577FB4BE16FE}"/>
          </ac:spMkLst>
        </pc:spChg>
        <pc:spChg chg="add del mod modVis">
          <ac:chgData name="Dave Lingebach" userId="8345a2a5-a067-4759-8441-be0dd7848035" providerId="ADAL" clId="{C3615EA2-8E18-4D47-B058-78CDDF4F37BB}" dt="2023-08-14T21:57:46.696" v="3740"/>
          <ac:spMkLst>
            <pc:docMk/>
            <pc:sldMk cId="3719928230" sldId="258"/>
            <ac:spMk id="61" creationId="{65E56FD5-A41E-F06F-5279-F6589E23A4A3}"/>
          </ac:spMkLst>
        </pc:spChg>
        <pc:spChg chg="add del mod modVis">
          <ac:chgData name="Dave Lingebach" userId="8345a2a5-a067-4759-8441-be0dd7848035" providerId="ADAL" clId="{C3615EA2-8E18-4D47-B058-78CDDF4F37BB}" dt="2023-08-14T21:57:55.666" v="3775"/>
          <ac:spMkLst>
            <pc:docMk/>
            <pc:sldMk cId="3719928230" sldId="258"/>
            <ac:spMk id="62" creationId="{1D33722F-DED7-D1A8-972A-A655460366F4}"/>
          </ac:spMkLst>
        </pc:spChg>
        <pc:graphicFrameChg chg="add del mod">
          <ac:chgData name="Dave Lingebach" userId="8345a2a5-a067-4759-8441-be0dd7848035" providerId="ADAL" clId="{C3615EA2-8E18-4D47-B058-78CDDF4F37BB}" dt="2023-08-14T21:08:38.072" v="38" actId="478"/>
          <ac:graphicFrameMkLst>
            <pc:docMk/>
            <pc:sldMk cId="3719928230" sldId="258"/>
            <ac:graphicFrameMk id="3" creationId="{DE17CAA2-DCF0-1D4C-DE3D-3EC3376DAFAA}"/>
          </ac:graphicFrameMkLst>
        </pc:graphicFrameChg>
        <pc:graphicFrameChg chg="add mod modGraphic">
          <ac:chgData name="Dave Lingebach" userId="8345a2a5-a067-4759-8441-be0dd7848035" providerId="ADAL" clId="{C3615EA2-8E18-4D47-B058-78CDDF4F37BB}" dt="2023-08-15T00:25:19.399" v="6654" actId="20577"/>
          <ac:graphicFrameMkLst>
            <pc:docMk/>
            <pc:sldMk cId="3719928230" sldId="258"/>
            <ac:graphicFrameMk id="4" creationId="{FEA0FA5B-724E-32F1-5093-DF04645ACDC3}"/>
          </ac:graphicFrameMkLst>
        </pc:graphicFrameChg>
        <pc:graphicFrameChg chg="add mod ord modVis replST">
          <ac:chgData name="Dave Lingebach" userId="8345a2a5-a067-4759-8441-be0dd7848035" providerId="ADAL" clId="{C3615EA2-8E18-4D47-B058-78CDDF4F37BB}" dt="2023-08-14T21:57:55.669" v="3777"/>
          <ac:graphicFrameMkLst>
            <pc:docMk/>
            <pc:sldMk cId="3719928230" sldId="258"/>
            <ac:graphicFrameMk id="15" creationId="{06225C72-1A3E-DE2C-F06A-791ADFE0DDEA}"/>
          </ac:graphicFrameMkLst>
        </pc:graphicFrameChg>
        <pc:picChg chg="add mod">
          <ac:chgData name="Dave Lingebach" userId="8345a2a5-a067-4759-8441-be0dd7848035" providerId="ADAL" clId="{C3615EA2-8E18-4D47-B058-78CDDF4F37BB}" dt="2023-08-14T21:12:39.214" v="92" actId="465"/>
          <ac:picMkLst>
            <pc:docMk/>
            <pc:sldMk cId="3719928230" sldId="258"/>
            <ac:picMk id="5" creationId="{28B39BB9-2399-0DCB-B417-1D9E12F1DA79}"/>
          </ac:picMkLst>
        </pc:picChg>
        <pc:picChg chg="add mod">
          <ac:chgData name="Dave Lingebach" userId="8345a2a5-a067-4759-8441-be0dd7848035" providerId="ADAL" clId="{C3615EA2-8E18-4D47-B058-78CDDF4F37BB}" dt="2023-08-14T21:12:39.214" v="92" actId="465"/>
          <ac:picMkLst>
            <pc:docMk/>
            <pc:sldMk cId="3719928230" sldId="258"/>
            <ac:picMk id="6" creationId="{101549C9-CAAA-781A-A894-D76F07793593}"/>
          </ac:picMkLst>
        </pc:picChg>
        <pc:picChg chg="add mod">
          <ac:chgData name="Dave Lingebach" userId="8345a2a5-a067-4759-8441-be0dd7848035" providerId="ADAL" clId="{C3615EA2-8E18-4D47-B058-78CDDF4F37BB}" dt="2023-08-14T21:12:39.214" v="92" actId="465"/>
          <ac:picMkLst>
            <pc:docMk/>
            <pc:sldMk cId="3719928230" sldId="258"/>
            <ac:picMk id="7" creationId="{355F7375-60D0-B99A-40CC-4246DCC9ECA2}"/>
          </ac:picMkLst>
        </pc:picChg>
        <pc:picChg chg="add mod">
          <ac:chgData name="Dave Lingebach" userId="8345a2a5-a067-4759-8441-be0dd7848035" providerId="ADAL" clId="{C3615EA2-8E18-4D47-B058-78CDDF4F37BB}" dt="2023-08-14T21:12:34.889" v="91" actId="12788"/>
          <ac:picMkLst>
            <pc:docMk/>
            <pc:sldMk cId="3719928230" sldId="258"/>
            <ac:picMk id="8" creationId="{05FBCEA5-4408-8164-EFCA-920FCA3D3410}"/>
          </ac:picMkLst>
        </pc:picChg>
        <pc:picChg chg="add mod">
          <ac:chgData name="Dave Lingebach" userId="8345a2a5-a067-4759-8441-be0dd7848035" providerId="ADAL" clId="{C3615EA2-8E18-4D47-B058-78CDDF4F37BB}" dt="2023-08-14T21:12:34.889" v="91" actId="12788"/>
          <ac:picMkLst>
            <pc:docMk/>
            <pc:sldMk cId="3719928230" sldId="258"/>
            <ac:picMk id="9" creationId="{CAD5FBF5-2D11-EDA1-A06A-A64BE573CD5B}"/>
          </ac:picMkLst>
        </pc:picChg>
      </pc:sldChg>
      <pc:sldChg chg="addSp delSp modSp new add mod">
        <pc:chgData name="Dave Lingebach" userId="8345a2a5-a067-4759-8441-be0dd7848035" providerId="ADAL" clId="{C3615EA2-8E18-4D47-B058-78CDDF4F37BB}" dt="2023-08-14T23:31:18.371" v="4589" actId="18245"/>
        <pc:sldMkLst>
          <pc:docMk/>
          <pc:sldMk cId="1679242650" sldId="259"/>
        </pc:sldMkLst>
        <pc:spChg chg="mod">
          <ac:chgData name="Dave Lingebach" userId="8345a2a5-a067-4759-8441-be0dd7848035" providerId="ADAL" clId="{C3615EA2-8E18-4D47-B058-78CDDF4F37BB}" dt="2023-08-14T21:40:18.691" v="1114" actId="948"/>
          <ac:spMkLst>
            <pc:docMk/>
            <pc:sldMk cId="1679242650" sldId="259"/>
            <ac:spMk id="2" creationId="{858B95B1-4971-1E8D-6F26-48366B085152}"/>
          </ac:spMkLst>
        </pc:spChg>
        <pc:spChg chg="add mod">
          <ac:chgData name="Dave Lingebach" userId="8345a2a5-a067-4759-8441-be0dd7848035" providerId="ADAL" clId="{C3615EA2-8E18-4D47-B058-78CDDF4F37BB}" dt="2023-08-14T21:32:53.915" v="349" actId="14100"/>
          <ac:spMkLst>
            <pc:docMk/>
            <pc:sldMk cId="1679242650" sldId="259"/>
            <ac:spMk id="3" creationId="{B4AD1A8B-9DFE-8B52-370B-641BE62AF91A}"/>
          </ac:spMkLst>
        </pc:spChg>
        <pc:spChg chg="add del mod">
          <ac:chgData name="Dave Lingebach" userId="8345a2a5-a067-4759-8441-be0dd7848035" providerId="ADAL" clId="{C3615EA2-8E18-4D47-B058-78CDDF4F37BB}" dt="2023-08-14T21:18:22.964" v="136"/>
          <ac:spMkLst>
            <pc:docMk/>
            <pc:sldMk cId="1679242650" sldId="259"/>
            <ac:spMk id="5" creationId="{42B5C4A7-8436-D99D-8920-D518EC65038E}"/>
          </ac:spMkLst>
        </pc:spChg>
        <pc:spChg chg="add del mod modVis">
          <ac:chgData name="Dave Lingebach" userId="8345a2a5-a067-4759-8441-be0dd7848035" providerId="ADAL" clId="{C3615EA2-8E18-4D47-B058-78CDDF4F37BB}" dt="2023-08-14T21:20:27.333" v="164"/>
          <ac:spMkLst>
            <pc:docMk/>
            <pc:sldMk cId="1679242650" sldId="259"/>
            <ac:spMk id="9" creationId="{ECB45E42-5C72-AC66-BAC5-EB2DE638E834}"/>
          </ac:spMkLst>
        </pc:spChg>
        <pc:spChg chg="add del mod modVis">
          <ac:chgData name="Dave Lingebach" userId="8345a2a5-a067-4759-8441-be0dd7848035" providerId="ADAL" clId="{C3615EA2-8E18-4D47-B058-78CDDF4F37BB}" dt="2023-08-14T21:20:29.877" v="206"/>
          <ac:spMkLst>
            <pc:docMk/>
            <pc:sldMk cId="1679242650" sldId="259"/>
            <ac:spMk id="11" creationId="{BB69C3C6-8239-1041-C957-9F5B45E42CF3}"/>
          </ac:spMkLst>
        </pc:spChg>
        <pc:spChg chg="add del mod modVis">
          <ac:chgData name="Dave Lingebach" userId="8345a2a5-a067-4759-8441-be0dd7848035" providerId="ADAL" clId="{C3615EA2-8E18-4D47-B058-78CDDF4F37BB}" dt="2023-08-14T21:20:35.659" v="240"/>
          <ac:spMkLst>
            <pc:docMk/>
            <pc:sldMk cId="1679242650" sldId="259"/>
            <ac:spMk id="12" creationId="{5F64F9D9-8491-FA92-7286-B21A7FB16C58}"/>
          </ac:spMkLst>
        </pc:spChg>
        <pc:spChg chg="add del mod modVis">
          <ac:chgData name="Dave Lingebach" userId="8345a2a5-a067-4759-8441-be0dd7848035" providerId="ADAL" clId="{C3615EA2-8E18-4D47-B058-78CDDF4F37BB}" dt="2023-08-14T21:20:38.286" v="269"/>
          <ac:spMkLst>
            <pc:docMk/>
            <pc:sldMk cId="1679242650" sldId="259"/>
            <ac:spMk id="13" creationId="{DF835270-E728-7FEE-1A5C-8D86D3BEE019}"/>
          </ac:spMkLst>
        </pc:spChg>
        <pc:spChg chg="add del mod modVis">
          <ac:chgData name="Dave Lingebach" userId="8345a2a5-a067-4759-8441-be0dd7848035" providerId="ADAL" clId="{C3615EA2-8E18-4D47-B058-78CDDF4F37BB}" dt="2023-08-14T21:40:16.971" v="1078" actId="962"/>
          <ac:spMkLst>
            <pc:docMk/>
            <pc:sldMk cId="1679242650" sldId="259"/>
            <ac:spMk id="18" creationId="{EF1B4CD8-098A-BD0B-8ED5-16F2EAD89B11}"/>
          </ac:spMkLst>
        </pc:spChg>
        <pc:spChg chg="add del mod modVis">
          <ac:chgData name="Dave Lingebach" userId="8345a2a5-a067-4759-8441-be0dd7848035" providerId="ADAL" clId="{C3615EA2-8E18-4D47-B058-78CDDF4F37BB}" dt="2023-08-14T21:40:17.671" v="1110"/>
          <ac:spMkLst>
            <pc:docMk/>
            <pc:sldMk cId="1679242650" sldId="259"/>
            <ac:spMk id="19" creationId="{2CF73847-A4B3-DEF1-10A5-A1C2AF3B1DB9}"/>
          </ac:spMkLst>
        </pc:spChg>
        <pc:spChg chg="add del mod modVis">
          <ac:chgData name="Dave Lingebach" userId="8345a2a5-a067-4759-8441-be0dd7848035" providerId="ADAL" clId="{C3615EA2-8E18-4D47-B058-78CDDF4F37BB}" dt="2023-08-14T21:40:18.724" v="1139"/>
          <ac:spMkLst>
            <pc:docMk/>
            <pc:sldMk cId="1679242650" sldId="259"/>
            <ac:spMk id="20" creationId="{DB3693CA-4003-6C10-73B2-AC65BCB3E558}"/>
          </ac:spMkLst>
        </pc:spChg>
        <pc:spChg chg="mod">
          <ac:chgData name="Dave Lingebach" userId="8345a2a5-a067-4759-8441-be0dd7848035" providerId="ADAL" clId="{C3615EA2-8E18-4D47-B058-78CDDF4F37BB}" dt="2023-08-14T23:31:18.371" v="4589" actId="18245"/>
          <ac:spMkLst>
            <pc:docMk/>
            <pc:sldMk cId="1679242650" sldId="259"/>
            <ac:spMk id="22" creationId="{111CAB9C-B4EA-90B0-ACA7-E71EDC0CFF21}"/>
          </ac:spMkLst>
        </pc:spChg>
        <pc:spChg chg="mod">
          <ac:chgData name="Dave Lingebach" userId="8345a2a5-a067-4759-8441-be0dd7848035" providerId="ADAL" clId="{C3615EA2-8E18-4D47-B058-78CDDF4F37BB}" dt="2023-08-14T23:31:18.371" v="4589" actId="18245"/>
          <ac:spMkLst>
            <pc:docMk/>
            <pc:sldMk cId="1679242650" sldId="259"/>
            <ac:spMk id="23" creationId="{B5C3C859-54FE-8166-CD98-DA711A732A83}"/>
          </ac:spMkLst>
        </pc:spChg>
        <pc:spChg chg="mod">
          <ac:chgData name="Dave Lingebach" userId="8345a2a5-a067-4759-8441-be0dd7848035" providerId="ADAL" clId="{C3615EA2-8E18-4D47-B058-78CDDF4F37BB}" dt="2023-08-14T23:31:10.011" v="4588" actId="18245"/>
          <ac:spMkLst>
            <pc:docMk/>
            <pc:sldMk cId="1679242650" sldId="259"/>
            <ac:spMk id="24" creationId="{CEA52B32-55B1-E56E-36A6-7A7A70DFB00F}"/>
          </ac:spMkLst>
        </pc:spChg>
        <pc:grpChg chg="mod">
          <ac:chgData name="Dave Lingebach" userId="8345a2a5-a067-4759-8441-be0dd7848035" providerId="ADAL" clId="{C3615EA2-8E18-4D47-B058-78CDDF4F37BB}" dt="2023-08-14T23:31:18.371" v="4589" actId="18245"/>
          <ac:grpSpMkLst>
            <pc:docMk/>
            <pc:sldMk cId="1679242650" sldId="259"/>
            <ac:grpSpMk id="21" creationId="{E9942AC7-AE16-9CF0-5C88-A6AE9F041D45}"/>
          </ac:grpSpMkLst>
        </pc:grpChg>
        <pc:graphicFrameChg chg="add del mod modGraphic">
          <ac:chgData name="Dave Lingebach" userId="8345a2a5-a067-4759-8441-be0dd7848035" providerId="ADAL" clId="{C3615EA2-8E18-4D47-B058-78CDDF4F37BB}" dt="2023-08-14T23:31:18.371" v="4589" actId="18245"/>
          <ac:graphicFrameMkLst>
            <pc:docMk/>
            <pc:sldMk cId="1679242650" sldId="259"/>
            <ac:graphicFrameMk id="4" creationId="{2D2CD797-3FE3-D503-3BDD-D2126ACC902A}"/>
          </ac:graphicFrameMkLst>
        </pc:graphicFrameChg>
        <pc:graphicFrameChg chg="add del mod">
          <ac:chgData name="Dave Lingebach" userId="8345a2a5-a067-4759-8441-be0dd7848035" providerId="ADAL" clId="{C3615EA2-8E18-4D47-B058-78CDDF4F37BB}" dt="2023-08-14T21:18:22.964" v="136"/>
          <ac:graphicFrameMkLst>
            <pc:docMk/>
            <pc:sldMk cId="1679242650" sldId="259"/>
            <ac:graphicFrameMk id="6" creationId="{B6FC4EEC-1A70-0F85-8D15-35C605F80EDA}"/>
          </ac:graphicFrameMkLst>
        </pc:graphicFrameChg>
        <pc:graphicFrameChg chg="add mod ord modVis replST">
          <ac:chgData name="Dave Lingebach" userId="8345a2a5-a067-4759-8441-be0dd7848035" providerId="ADAL" clId="{C3615EA2-8E18-4D47-B058-78CDDF4F37BB}" dt="2023-08-14T21:40:18.726" v="1141"/>
          <ac:graphicFrameMkLst>
            <pc:docMk/>
            <pc:sldMk cId="1679242650" sldId="259"/>
            <ac:graphicFrameMk id="10" creationId="{2282AEBB-4435-EE1E-C157-F5B7ABCA1F47}"/>
          </ac:graphicFrameMkLst>
        </pc:graphicFrameChg>
        <pc:picChg chg="add del mod">
          <ac:chgData name="Dave Lingebach" userId="8345a2a5-a067-4759-8441-be0dd7848035" providerId="ADAL" clId="{C3615EA2-8E18-4D47-B058-78CDDF4F37BB}" dt="2023-08-14T21:18:22.964" v="136"/>
          <ac:picMkLst>
            <pc:docMk/>
            <pc:sldMk cId="1679242650" sldId="259"/>
            <ac:picMk id="7" creationId="{9758CFAE-DF5B-457F-457F-C2FC2475D60B}"/>
          </ac:picMkLst>
        </pc:picChg>
        <pc:picChg chg="add del mod">
          <ac:chgData name="Dave Lingebach" userId="8345a2a5-a067-4759-8441-be0dd7848035" providerId="ADAL" clId="{C3615EA2-8E18-4D47-B058-78CDDF4F37BB}" dt="2023-08-14T21:18:22.964" v="136"/>
          <ac:picMkLst>
            <pc:docMk/>
            <pc:sldMk cId="1679242650" sldId="259"/>
            <ac:picMk id="8" creationId="{8B170D7C-5021-CC28-0026-BA0D2558B402}"/>
          </ac:picMkLst>
        </pc:picChg>
        <pc:picChg chg="add mod">
          <ac:chgData name="Dave Lingebach" userId="8345a2a5-a067-4759-8441-be0dd7848035" providerId="ADAL" clId="{C3615EA2-8E18-4D47-B058-78CDDF4F37BB}" dt="2023-08-14T21:35:26.903" v="368" actId="1076"/>
          <ac:picMkLst>
            <pc:docMk/>
            <pc:sldMk cId="1679242650" sldId="259"/>
            <ac:picMk id="14" creationId="{44EB7277-D800-CD4C-7106-F199EFF5FEB1}"/>
          </ac:picMkLst>
        </pc:picChg>
        <pc:picChg chg="add mod">
          <ac:chgData name="Dave Lingebach" userId="8345a2a5-a067-4759-8441-be0dd7848035" providerId="ADAL" clId="{C3615EA2-8E18-4D47-B058-78CDDF4F37BB}" dt="2023-08-14T21:35:26.903" v="368" actId="1076"/>
          <ac:picMkLst>
            <pc:docMk/>
            <pc:sldMk cId="1679242650" sldId="259"/>
            <ac:picMk id="15" creationId="{0AB69C53-DD05-CA3B-F2D2-D535519E68FD}"/>
          </ac:picMkLst>
        </pc:picChg>
        <pc:picChg chg="add mod">
          <ac:chgData name="Dave Lingebach" userId="8345a2a5-a067-4759-8441-be0dd7848035" providerId="ADAL" clId="{C3615EA2-8E18-4D47-B058-78CDDF4F37BB}" dt="2023-08-14T21:35:26.903" v="368" actId="1076"/>
          <ac:picMkLst>
            <pc:docMk/>
            <pc:sldMk cId="1679242650" sldId="259"/>
            <ac:picMk id="17" creationId="{1E28CBC9-55A8-AA91-2D85-D81C90664588}"/>
          </ac:picMkLst>
        </pc:picChg>
      </pc:sldChg>
      <pc:sldChg chg="addSp delSp modSp new add mod">
        <pc:chgData name="Dave Lingebach" userId="8345a2a5-a067-4759-8441-be0dd7848035" providerId="ADAL" clId="{C3615EA2-8E18-4D47-B058-78CDDF4F37BB}" dt="2023-08-15T01:10:27.443" v="6736" actId="13782"/>
        <pc:sldMkLst>
          <pc:docMk/>
          <pc:sldMk cId="526116982" sldId="260"/>
        </pc:sldMkLst>
        <pc:spChg chg="mod">
          <ac:chgData name="Dave Lingebach" userId="8345a2a5-a067-4759-8441-be0dd7848035" providerId="ADAL" clId="{C3615EA2-8E18-4D47-B058-78CDDF4F37BB}" dt="2023-08-14T21:43:09.952" v="1801" actId="948"/>
          <ac:spMkLst>
            <pc:docMk/>
            <pc:sldMk cId="526116982" sldId="260"/>
            <ac:spMk id="2" creationId="{C8264F0F-330E-F918-7E34-BB65330BBC38}"/>
          </ac:spMkLst>
        </pc:spChg>
        <pc:spChg chg="add del mod modVis">
          <ac:chgData name="Dave Lingebach" userId="8345a2a5-a067-4759-8441-be0dd7848035" providerId="ADAL" clId="{C3615EA2-8E18-4D47-B058-78CDDF4F37BB}" dt="2023-08-14T21:36:58.618" v="407"/>
          <ac:spMkLst>
            <pc:docMk/>
            <pc:sldMk cId="526116982" sldId="260"/>
            <ac:spMk id="3" creationId="{9C808DB7-7B15-B62A-9184-5BDAF4409E7C}"/>
          </ac:spMkLst>
        </pc:spChg>
        <pc:spChg chg="add del mod modVis">
          <ac:chgData name="Dave Lingebach" userId="8345a2a5-a067-4759-8441-be0dd7848035" providerId="ADAL" clId="{C3615EA2-8E18-4D47-B058-78CDDF4F37BB}" dt="2023-08-14T21:37:03.027" v="470"/>
          <ac:spMkLst>
            <pc:docMk/>
            <pc:sldMk cId="526116982" sldId="260"/>
            <ac:spMk id="5" creationId="{A0CF0897-21E4-D80D-1134-92BCFDDD2D4A}"/>
          </ac:spMkLst>
        </pc:spChg>
        <pc:spChg chg="add del mod modVis">
          <ac:chgData name="Dave Lingebach" userId="8345a2a5-a067-4759-8441-be0dd7848035" providerId="ADAL" clId="{C3615EA2-8E18-4D47-B058-78CDDF4F37BB}" dt="2023-08-14T21:37:06.044" v="500"/>
          <ac:spMkLst>
            <pc:docMk/>
            <pc:sldMk cId="526116982" sldId="260"/>
            <ac:spMk id="6" creationId="{33D5933E-1BD7-1A9B-FBCE-70F04DDDACF9}"/>
          </ac:spMkLst>
        </pc:spChg>
        <pc:spChg chg="add del mod modVis">
          <ac:chgData name="Dave Lingebach" userId="8345a2a5-a067-4759-8441-be0dd7848035" providerId="ADAL" clId="{C3615EA2-8E18-4D47-B058-78CDDF4F37BB}" dt="2023-08-14T21:37:08.877" v="538"/>
          <ac:spMkLst>
            <pc:docMk/>
            <pc:sldMk cId="526116982" sldId="260"/>
            <ac:spMk id="7" creationId="{1584E933-EBE9-A12F-4A07-D1584CBCEE80}"/>
          </ac:spMkLst>
        </pc:spChg>
        <pc:spChg chg="add del mod modVis">
          <ac:chgData name="Dave Lingebach" userId="8345a2a5-a067-4759-8441-be0dd7848035" providerId="ADAL" clId="{C3615EA2-8E18-4D47-B058-78CDDF4F37BB}" dt="2023-08-14T21:37:09.877" v="569"/>
          <ac:spMkLst>
            <pc:docMk/>
            <pc:sldMk cId="526116982" sldId="260"/>
            <ac:spMk id="8" creationId="{E43F000D-BA45-0435-878B-74EA77BF839E}"/>
          </ac:spMkLst>
        </pc:spChg>
        <pc:spChg chg="add del mod modVis">
          <ac:chgData name="Dave Lingebach" userId="8345a2a5-a067-4759-8441-be0dd7848035" providerId="ADAL" clId="{C3615EA2-8E18-4D47-B058-78CDDF4F37BB}" dt="2023-08-14T21:37:10.489" v="598"/>
          <ac:spMkLst>
            <pc:docMk/>
            <pc:sldMk cId="526116982" sldId="260"/>
            <ac:spMk id="9" creationId="{C3B42500-1812-83CD-6A12-0096DFC6D5FC}"/>
          </ac:spMkLst>
        </pc:spChg>
        <pc:spChg chg="add del mod modVis">
          <ac:chgData name="Dave Lingebach" userId="8345a2a5-a067-4759-8441-be0dd7848035" providerId="ADAL" clId="{C3615EA2-8E18-4D47-B058-78CDDF4F37BB}" dt="2023-08-14T21:37:12.922" v="627"/>
          <ac:spMkLst>
            <pc:docMk/>
            <pc:sldMk cId="526116982" sldId="260"/>
            <ac:spMk id="10" creationId="{5206F0D1-8024-95ED-D434-D625BF67AFA2}"/>
          </ac:spMkLst>
        </pc:spChg>
        <pc:spChg chg="add del mod modVis">
          <ac:chgData name="Dave Lingebach" userId="8345a2a5-a067-4759-8441-be0dd7848035" providerId="ADAL" clId="{C3615EA2-8E18-4D47-B058-78CDDF4F37BB}" dt="2023-08-14T21:37:34.312" v="676"/>
          <ac:spMkLst>
            <pc:docMk/>
            <pc:sldMk cId="526116982" sldId="260"/>
            <ac:spMk id="11" creationId="{E62307C4-0A97-9EC9-856B-CE2477027AC4}"/>
          </ac:spMkLst>
        </pc:spChg>
        <pc:spChg chg="add del mod modVis">
          <ac:chgData name="Dave Lingebach" userId="8345a2a5-a067-4759-8441-be0dd7848035" providerId="ADAL" clId="{C3615EA2-8E18-4D47-B058-78CDDF4F37BB}" dt="2023-08-14T21:37:36.243" v="707"/>
          <ac:spMkLst>
            <pc:docMk/>
            <pc:sldMk cId="526116982" sldId="260"/>
            <ac:spMk id="12" creationId="{31DB56E6-A9F0-59DF-1772-8D87B74631BC}"/>
          </ac:spMkLst>
        </pc:spChg>
        <pc:spChg chg="add del mod modVis">
          <ac:chgData name="Dave Lingebach" userId="8345a2a5-a067-4759-8441-be0dd7848035" providerId="ADAL" clId="{C3615EA2-8E18-4D47-B058-78CDDF4F37BB}" dt="2023-08-14T21:37:44.193" v="736"/>
          <ac:spMkLst>
            <pc:docMk/>
            <pc:sldMk cId="526116982" sldId="260"/>
            <ac:spMk id="13" creationId="{AAC1B181-373D-8B75-F97F-B1C3F68D143A}"/>
          </ac:spMkLst>
        </pc:spChg>
        <pc:spChg chg="add del mod modVis">
          <ac:chgData name="Dave Lingebach" userId="8345a2a5-a067-4759-8441-be0dd7848035" providerId="ADAL" clId="{C3615EA2-8E18-4D47-B058-78CDDF4F37BB}" dt="2023-08-14T21:37:44.760" v="765"/>
          <ac:spMkLst>
            <pc:docMk/>
            <pc:sldMk cId="526116982" sldId="260"/>
            <ac:spMk id="14" creationId="{AD58EC85-2339-5AEA-25FC-C68AD748DEFD}"/>
          </ac:spMkLst>
        </pc:spChg>
        <pc:spChg chg="add del mod modVis">
          <ac:chgData name="Dave Lingebach" userId="8345a2a5-a067-4759-8441-be0dd7848035" providerId="ADAL" clId="{C3615EA2-8E18-4D47-B058-78CDDF4F37BB}" dt="2023-08-14T21:37:46.725" v="800"/>
          <ac:spMkLst>
            <pc:docMk/>
            <pc:sldMk cId="526116982" sldId="260"/>
            <ac:spMk id="15" creationId="{36756179-6EE6-808D-9431-031827EBF1E8}"/>
          </ac:spMkLst>
        </pc:spChg>
        <pc:spChg chg="add del mod modVis">
          <ac:chgData name="Dave Lingebach" userId="8345a2a5-a067-4759-8441-be0dd7848035" providerId="ADAL" clId="{C3615EA2-8E18-4D47-B058-78CDDF4F37BB}" dt="2023-08-14T21:37:50.129" v="829"/>
          <ac:spMkLst>
            <pc:docMk/>
            <pc:sldMk cId="526116982" sldId="260"/>
            <ac:spMk id="16" creationId="{748724E5-ABF0-0127-F7D6-A6E17DE2F71D}"/>
          </ac:spMkLst>
        </pc:spChg>
        <pc:spChg chg="add del mod modVis">
          <ac:chgData name="Dave Lingebach" userId="8345a2a5-a067-4759-8441-be0dd7848035" providerId="ADAL" clId="{C3615EA2-8E18-4D47-B058-78CDDF4F37BB}" dt="2023-08-14T21:37:57.386" v="858"/>
          <ac:spMkLst>
            <pc:docMk/>
            <pc:sldMk cId="526116982" sldId="260"/>
            <ac:spMk id="17" creationId="{C5E9F880-EFDC-8DD7-2BCB-3A209C3911B6}"/>
          </ac:spMkLst>
        </pc:spChg>
        <pc:spChg chg="add del mod modVis">
          <ac:chgData name="Dave Lingebach" userId="8345a2a5-a067-4759-8441-be0dd7848035" providerId="ADAL" clId="{C3615EA2-8E18-4D47-B058-78CDDF4F37BB}" dt="2023-08-14T21:37:58.981" v="893"/>
          <ac:spMkLst>
            <pc:docMk/>
            <pc:sldMk cId="526116982" sldId="260"/>
            <ac:spMk id="18" creationId="{AC7E9536-2E81-E4E4-35C6-A68935E55624}"/>
          </ac:spMkLst>
        </pc:spChg>
        <pc:spChg chg="add del mod modVis">
          <ac:chgData name="Dave Lingebach" userId="8345a2a5-a067-4759-8441-be0dd7848035" providerId="ADAL" clId="{C3615EA2-8E18-4D47-B058-78CDDF4F37BB}" dt="2023-08-14T21:39:09.049" v="922"/>
          <ac:spMkLst>
            <pc:docMk/>
            <pc:sldMk cId="526116982" sldId="260"/>
            <ac:spMk id="19" creationId="{F319E8CA-9EA5-74BF-30C0-6CFC632F4E2B}"/>
          </ac:spMkLst>
        </pc:spChg>
        <pc:spChg chg="add del mod modVis">
          <ac:chgData name="Dave Lingebach" userId="8345a2a5-a067-4759-8441-be0dd7848035" providerId="ADAL" clId="{C3615EA2-8E18-4D47-B058-78CDDF4F37BB}" dt="2023-08-14T21:39:15.692" v="959"/>
          <ac:spMkLst>
            <pc:docMk/>
            <pc:sldMk cId="526116982" sldId="260"/>
            <ac:spMk id="20" creationId="{85AB99B6-5E89-3436-C1F3-043089AF8934}"/>
          </ac:spMkLst>
        </pc:spChg>
        <pc:spChg chg="add del mod modVis">
          <ac:chgData name="Dave Lingebach" userId="8345a2a5-a067-4759-8441-be0dd7848035" providerId="ADAL" clId="{C3615EA2-8E18-4D47-B058-78CDDF4F37BB}" dt="2023-08-14T21:39:18.355" v="992"/>
          <ac:spMkLst>
            <pc:docMk/>
            <pc:sldMk cId="526116982" sldId="260"/>
            <ac:spMk id="21" creationId="{E894AB96-830E-E5E7-9024-4B6DDCECEDEA}"/>
          </ac:spMkLst>
        </pc:spChg>
        <pc:spChg chg="add del mod modVis">
          <ac:chgData name="Dave Lingebach" userId="8345a2a5-a067-4759-8441-be0dd7848035" providerId="ADAL" clId="{C3615EA2-8E18-4D47-B058-78CDDF4F37BB}" dt="2023-08-14T21:39:19.458" v="1022"/>
          <ac:spMkLst>
            <pc:docMk/>
            <pc:sldMk cId="526116982" sldId="260"/>
            <ac:spMk id="22" creationId="{C563F222-9707-A3B7-49D8-7FAD0535EAF7}"/>
          </ac:spMkLst>
        </pc:spChg>
        <pc:spChg chg="add del mod modVis">
          <ac:chgData name="Dave Lingebach" userId="8345a2a5-a067-4759-8441-be0dd7848035" providerId="ADAL" clId="{C3615EA2-8E18-4D47-B058-78CDDF4F37BB}" dt="2023-08-14T21:40:29.845" v="1173"/>
          <ac:spMkLst>
            <pc:docMk/>
            <pc:sldMk cId="526116982" sldId="260"/>
            <ac:spMk id="23" creationId="{19A76C44-66D6-520E-BBA6-A08F49D9269F}"/>
          </ac:spMkLst>
        </pc:spChg>
        <pc:spChg chg="add del mod modVis">
          <ac:chgData name="Dave Lingebach" userId="8345a2a5-a067-4759-8441-be0dd7848035" providerId="ADAL" clId="{C3615EA2-8E18-4D47-B058-78CDDF4F37BB}" dt="2023-08-14T21:40:34.726" v="1207"/>
          <ac:spMkLst>
            <pc:docMk/>
            <pc:sldMk cId="526116982" sldId="260"/>
            <ac:spMk id="24" creationId="{32D5C1AD-1CF3-DA60-67ED-F8ED9B989DAF}"/>
          </ac:spMkLst>
        </pc:spChg>
        <pc:spChg chg="add del mod modVis">
          <ac:chgData name="Dave Lingebach" userId="8345a2a5-a067-4759-8441-be0dd7848035" providerId="ADAL" clId="{C3615EA2-8E18-4D47-B058-78CDDF4F37BB}" dt="2023-08-14T21:40:36.125" v="1244"/>
          <ac:spMkLst>
            <pc:docMk/>
            <pc:sldMk cId="526116982" sldId="260"/>
            <ac:spMk id="25" creationId="{D7DDA578-E6A6-727A-2FC5-8C65204C7FEB}"/>
          </ac:spMkLst>
        </pc:spChg>
        <pc:spChg chg="add del mod modVis">
          <ac:chgData name="Dave Lingebach" userId="8345a2a5-a067-4759-8441-be0dd7848035" providerId="ADAL" clId="{C3615EA2-8E18-4D47-B058-78CDDF4F37BB}" dt="2023-08-14T21:40:38.810" v="1287"/>
          <ac:spMkLst>
            <pc:docMk/>
            <pc:sldMk cId="526116982" sldId="260"/>
            <ac:spMk id="26" creationId="{8ABB530F-168F-6E4C-40D6-6EDC8A075861}"/>
          </ac:spMkLst>
        </pc:spChg>
        <pc:spChg chg="add del mod modVis">
          <ac:chgData name="Dave Lingebach" userId="8345a2a5-a067-4759-8441-be0dd7848035" providerId="ADAL" clId="{C3615EA2-8E18-4D47-B058-78CDDF4F37BB}" dt="2023-08-14T21:40:39.858" v="1319"/>
          <ac:spMkLst>
            <pc:docMk/>
            <pc:sldMk cId="526116982" sldId="260"/>
            <ac:spMk id="27" creationId="{3B80C8B8-6210-028A-427D-209734978367}"/>
          </ac:spMkLst>
        </pc:spChg>
        <pc:spChg chg="add del mod modVis">
          <ac:chgData name="Dave Lingebach" userId="8345a2a5-a067-4759-8441-be0dd7848035" providerId="ADAL" clId="{C3615EA2-8E18-4D47-B058-78CDDF4F37BB}" dt="2023-08-14T21:41:22.144" v="1350"/>
          <ac:spMkLst>
            <pc:docMk/>
            <pc:sldMk cId="526116982" sldId="260"/>
            <ac:spMk id="28" creationId="{F6CDEFE7-F625-6CE3-6BF2-90BD80B44E7A}"/>
          </ac:spMkLst>
        </pc:spChg>
        <pc:spChg chg="add del mod modVis">
          <ac:chgData name="Dave Lingebach" userId="8345a2a5-a067-4759-8441-be0dd7848035" providerId="ADAL" clId="{C3615EA2-8E18-4D47-B058-78CDDF4F37BB}" dt="2023-08-14T21:41:22.692" v="1379"/>
          <ac:spMkLst>
            <pc:docMk/>
            <pc:sldMk cId="526116982" sldId="260"/>
            <ac:spMk id="29" creationId="{DB61F958-E8C0-8BD3-277E-1BF5EE86829E}"/>
          </ac:spMkLst>
        </pc:spChg>
        <pc:spChg chg="add del mod modVis">
          <ac:chgData name="Dave Lingebach" userId="8345a2a5-a067-4759-8441-be0dd7848035" providerId="ADAL" clId="{C3615EA2-8E18-4D47-B058-78CDDF4F37BB}" dt="2023-08-14T21:41:43.144" v="1419"/>
          <ac:spMkLst>
            <pc:docMk/>
            <pc:sldMk cId="526116982" sldId="260"/>
            <ac:spMk id="30" creationId="{D356B043-9A12-9355-0BC9-F3356D439233}"/>
          </ac:spMkLst>
        </pc:spChg>
        <pc:spChg chg="add del mod modVis">
          <ac:chgData name="Dave Lingebach" userId="8345a2a5-a067-4759-8441-be0dd7848035" providerId="ADAL" clId="{C3615EA2-8E18-4D47-B058-78CDDF4F37BB}" dt="2023-08-14T21:41:47.161" v="1467"/>
          <ac:spMkLst>
            <pc:docMk/>
            <pc:sldMk cId="526116982" sldId="260"/>
            <ac:spMk id="31" creationId="{B27EBF15-7DFB-C513-435A-168D9EC025BB}"/>
          </ac:spMkLst>
        </pc:spChg>
        <pc:spChg chg="add del mod modVis">
          <ac:chgData name="Dave Lingebach" userId="8345a2a5-a067-4759-8441-be0dd7848035" providerId="ADAL" clId="{C3615EA2-8E18-4D47-B058-78CDDF4F37BB}" dt="2023-08-14T21:41:52.091" v="1499"/>
          <ac:spMkLst>
            <pc:docMk/>
            <pc:sldMk cId="526116982" sldId="260"/>
            <ac:spMk id="32" creationId="{77EA408E-E02E-9DE5-DC7B-A83C0D53D8C5}"/>
          </ac:spMkLst>
        </pc:spChg>
        <pc:spChg chg="add del mod modVis">
          <ac:chgData name="Dave Lingebach" userId="8345a2a5-a067-4759-8441-be0dd7848035" providerId="ADAL" clId="{C3615EA2-8E18-4D47-B058-78CDDF4F37BB}" dt="2023-08-14T21:42:13.181" v="1543"/>
          <ac:spMkLst>
            <pc:docMk/>
            <pc:sldMk cId="526116982" sldId="260"/>
            <ac:spMk id="33" creationId="{16A9A4EF-A65F-5ED5-D56D-7B6BF0B3421A}"/>
          </ac:spMkLst>
        </pc:spChg>
        <pc:spChg chg="add del mod modVis">
          <ac:chgData name="Dave Lingebach" userId="8345a2a5-a067-4759-8441-be0dd7848035" providerId="ADAL" clId="{C3615EA2-8E18-4D47-B058-78CDDF4F37BB}" dt="2023-08-14T21:42:27.481" v="1596"/>
          <ac:spMkLst>
            <pc:docMk/>
            <pc:sldMk cId="526116982" sldId="260"/>
            <ac:spMk id="34" creationId="{D8953F34-5172-2E86-23A7-A9010C16F132}"/>
          </ac:spMkLst>
        </pc:spChg>
        <pc:spChg chg="add del mod modVis">
          <ac:chgData name="Dave Lingebach" userId="8345a2a5-a067-4759-8441-be0dd7848035" providerId="ADAL" clId="{C3615EA2-8E18-4D47-B058-78CDDF4F37BB}" dt="2023-08-14T21:42:30.409" v="1639"/>
          <ac:spMkLst>
            <pc:docMk/>
            <pc:sldMk cId="526116982" sldId="260"/>
            <ac:spMk id="35" creationId="{C2CCAD0B-8C2D-427C-0E8E-2B9461C991E9}"/>
          </ac:spMkLst>
        </pc:spChg>
        <pc:spChg chg="add del mod modVis">
          <ac:chgData name="Dave Lingebach" userId="8345a2a5-a067-4759-8441-be0dd7848035" providerId="ADAL" clId="{C3615EA2-8E18-4D47-B058-78CDDF4F37BB}" dt="2023-08-14T21:42:30.990" v="1668"/>
          <ac:spMkLst>
            <pc:docMk/>
            <pc:sldMk cId="526116982" sldId="260"/>
            <ac:spMk id="36" creationId="{2881E9A4-FC38-4511-9DEB-FB25FAF090F8}"/>
          </ac:spMkLst>
        </pc:spChg>
        <pc:spChg chg="add del mod modVis">
          <ac:chgData name="Dave Lingebach" userId="8345a2a5-a067-4759-8441-be0dd7848035" providerId="ADAL" clId="{C3615EA2-8E18-4D47-B058-78CDDF4F37BB}" dt="2023-08-14T21:42:31.585" v="1697"/>
          <ac:spMkLst>
            <pc:docMk/>
            <pc:sldMk cId="526116982" sldId="260"/>
            <ac:spMk id="37" creationId="{5E825AAA-D9F8-0458-0F4D-D684B7B130F7}"/>
          </ac:spMkLst>
        </pc:spChg>
        <pc:spChg chg="add del mod modVis">
          <ac:chgData name="Dave Lingebach" userId="8345a2a5-a067-4759-8441-be0dd7848035" providerId="ADAL" clId="{C3615EA2-8E18-4D47-B058-78CDDF4F37BB}" dt="2023-08-14T21:42:33.900" v="1726"/>
          <ac:spMkLst>
            <pc:docMk/>
            <pc:sldMk cId="526116982" sldId="260"/>
            <ac:spMk id="38" creationId="{94ED5D8F-372D-BF69-0D76-A73E82AB551F}"/>
          </ac:spMkLst>
        </pc:spChg>
        <pc:spChg chg="add del mod modVis">
          <ac:chgData name="Dave Lingebach" userId="8345a2a5-a067-4759-8441-be0dd7848035" providerId="ADAL" clId="{C3615EA2-8E18-4D47-B058-78CDDF4F37BB}" dt="2023-08-14T21:42:58.084" v="1797"/>
          <ac:spMkLst>
            <pc:docMk/>
            <pc:sldMk cId="526116982" sldId="260"/>
            <ac:spMk id="39" creationId="{3F3531E9-DA29-64A1-95DB-3D9CAD1AE0F0}"/>
          </ac:spMkLst>
        </pc:spChg>
        <pc:spChg chg="add del mod modVis">
          <ac:chgData name="Dave Lingebach" userId="8345a2a5-a067-4759-8441-be0dd7848035" providerId="ADAL" clId="{C3615EA2-8E18-4D47-B058-78CDDF4F37BB}" dt="2023-08-14T21:43:09.972" v="1826"/>
          <ac:spMkLst>
            <pc:docMk/>
            <pc:sldMk cId="526116982" sldId="260"/>
            <ac:spMk id="40" creationId="{530CEBC4-07DB-4B14-30EE-D6A654D72409}"/>
          </ac:spMkLst>
        </pc:spChg>
        <pc:spChg chg="add del mod">
          <ac:chgData name="Dave Lingebach" userId="8345a2a5-a067-4759-8441-be0dd7848035" providerId="ADAL" clId="{C3615EA2-8E18-4D47-B058-78CDDF4F37BB}" dt="2023-08-14T21:44:00.788" v="1831" actId="478"/>
          <ac:spMkLst>
            <pc:docMk/>
            <pc:sldMk cId="526116982" sldId="260"/>
            <ac:spMk id="41" creationId="{E5F02096-BF0B-0C36-A658-76992831710A}"/>
          </ac:spMkLst>
        </pc:spChg>
        <pc:spChg chg="mod topLvl">
          <ac:chgData name="Dave Lingebach" userId="8345a2a5-a067-4759-8441-be0dd7848035" providerId="ADAL" clId="{C3615EA2-8E18-4D47-B058-78CDDF4F37BB}" dt="2023-08-15T00:30:20.059" v="6697" actId="14100"/>
          <ac:spMkLst>
            <pc:docMk/>
            <pc:sldMk cId="526116982" sldId="260"/>
            <ac:spMk id="45" creationId="{9099BD94-EF34-7FA8-28CF-E5F12F6DD820}"/>
          </ac:spMkLst>
        </pc:spChg>
        <pc:grpChg chg="add del mod">
          <ac:chgData name="Dave Lingebach" userId="8345a2a5-a067-4759-8441-be0dd7848035" providerId="ADAL" clId="{C3615EA2-8E18-4D47-B058-78CDDF4F37BB}" dt="2023-08-15T00:29:22.823" v="6688" actId="165"/>
          <ac:grpSpMkLst>
            <pc:docMk/>
            <pc:sldMk cId="526116982" sldId="260"/>
            <ac:grpSpMk id="42" creationId="{99E72212-626F-2EDF-6E7A-A632E2694D7F}"/>
          </ac:grpSpMkLst>
        </pc:grpChg>
        <pc:grpChg chg="add mod">
          <ac:chgData name="Dave Lingebach" userId="8345a2a5-a067-4759-8441-be0dd7848035" providerId="ADAL" clId="{C3615EA2-8E18-4D47-B058-78CDDF4F37BB}" dt="2023-08-15T00:29:21.455" v="6687" actId="338"/>
          <ac:grpSpMkLst>
            <pc:docMk/>
            <pc:sldMk cId="526116982" sldId="260"/>
            <ac:grpSpMk id="46" creationId="{0F5FB808-6EF1-73D2-F3D9-7A9A60196BCB}"/>
          </ac:grpSpMkLst>
        </pc:grpChg>
        <pc:graphicFrameChg chg="add mod ord modVis replST">
          <ac:chgData name="Dave Lingebach" userId="8345a2a5-a067-4759-8441-be0dd7848035" providerId="ADAL" clId="{C3615EA2-8E18-4D47-B058-78CDDF4F37BB}" dt="2023-08-14T21:43:09.974" v="1828"/>
          <ac:graphicFrameMkLst>
            <pc:docMk/>
            <pc:sldMk cId="526116982" sldId="260"/>
            <ac:graphicFrameMk id="4" creationId="{34451EB4-B8E8-1600-3CC1-D6C9CA32C6B8}"/>
          </ac:graphicFrameMkLst>
        </pc:graphicFrameChg>
        <pc:graphicFrameChg chg="mod topLvl modGraphic">
          <ac:chgData name="Dave Lingebach" userId="8345a2a5-a067-4759-8441-be0dd7848035" providerId="ADAL" clId="{C3615EA2-8E18-4D47-B058-78CDDF4F37BB}" dt="2023-08-15T01:10:27.443" v="6736" actId="13782"/>
          <ac:graphicFrameMkLst>
            <pc:docMk/>
            <pc:sldMk cId="526116982" sldId="260"/>
            <ac:graphicFrameMk id="43" creationId="{6F68E89F-E892-87AA-A7D3-B7E47481A783}"/>
          </ac:graphicFrameMkLst>
        </pc:graphicFrameChg>
        <pc:graphicFrameChg chg="mod topLvl">
          <ac:chgData name="Dave Lingebach" userId="8345a2a5-a067-4759-8441-be0dd7848035" providerId="ADAL" clId="{C3615EA2-8E18-4D47-B058-78CDDF4F37BB}" dt="2023-08-15T00:29:43.210" v="6691" actId="20577"/>
          <ac:graphicFrameMkLst>
            <pc:docMk/>
            <pc:sldMk cId="526116982" sldId="260"/>
            <ac:graphicFrameMk id="44" creationId="{465A0982-65B0-6C4E-8C22-997F6ACB919C}"/>
          </ac:graphicFrameMkLst>
        </pc:graphicFrameChg>
      </pc:sldChg>
      <pc:sldMasterChg chg="del delSldLayout">
        <pc:chgData name="Dave Lingebach" userId="8345a2a5-a067-4759-8441-be0dd7848035" providerId="ADAL" clId="{C3615EA2-8E18-4D47-B058-78CDDF4F37BB}" dt="2023-08-11T12:52:43.210" v="0" actId="47"/>
        <pc:sldMasterMkLst>
          <pc:docMk/>
          <pc:sldMasterMk cId="0" sldId="2147483648"/>
        </pc:sldMasterMkLst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5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5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5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5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5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2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3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4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5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6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2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3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4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5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7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2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3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4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5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8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2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3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4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5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69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1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2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3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4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5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6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7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8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09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0" sldId="214748371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2042576346" sldId="2147483780"/>
          </pc:sldLayoutMkLst>
        </pc:sldLayoutChg>
        <pc:sldLayoutChg chg="del">
          <pc:chgData name="Dave Lingebach" userId="8345a2a5-a067-4759-8441-be0dd7848035" providerId="ADAL" clId="{C3615EA2-8E18-4D47-B058-78CDDF4F37BB}" dt="2023-08-11T12:52:43.210" v="0" actId="47"/>
          <pc:sldLayoutMkLst>
            <pc:docMk/>
            <pc:sldMasterMk cId="0" sldId="2147483648"/>
            <pc:sldLayoutMk cId="3628366235" sldId="2147483782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2373E8-2B79-4FCF-A5DB-76F6F48D4B1D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6AB205B-F868-4374-8388-FD84E00438DC}">
      <dgm:prSet custT="1"/>
      <dgm:spPr/>
      <dgm:t>
        <a:bodyPr/>
        <a:lstStyle/>
        <a:p>
          <a:pPr marL="0" algn="ctr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endParaRPr lang="en-US" sz="1100" b="1" kern="1200" dirty="0"/>
        </a:p>
        <a:p>
          <a:pPr marL="0" algn="ctr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br>
            <a:rPr lang="en-US" sz="1100" b="1" kern="1200" dirty="0"/>
          </a:br>
          <a: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  <a:t>Strong GTM </a:t>
          </a:r>
          <a:b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  <a:t>alignment </a:t>
          </a:r>
        </a:p>
      </dgm:t>
    </dgm:pt>
    <dgm:pt modelId="{5612BA6E-5EB8-43B6-BCC9-9730DA41205D}" type="parTrans" cxnId="{469A0E98-4AED-4A73-A304-7B14F32C100D}">
      <dgm:prSet/>
      <dgm:spPr/>
      <dgm:t>
        <a:bodyPr/>
        <a:lstStyle/>
        <a:p>
          <a:endParaRPr lang="en-US"/>
        </a:p>
      </dgm:t>
    </dgm:pt>
    <dgm:pt modelId="{FA5968BF-8701-4F8E-B3B0-66A3568D57EA}" type="sibTrans" cxnId="{469A0E98-4AED-4A73-A304-7B14F32C100D}">
      <dgm:prSet/>
      <dgm:spPr/>
      <dgm:t>
        <a:bodyPr/>
        <a:lstStyle/>
        <a:p>
          <a:endParaRPr lang="en-US"/>
        </a:p>
      </dgm:t>
    </dgm:pt>
    <dgm:pt modelId="{E89392A5-A32D-4025-B4E1-D8694F478B30}">
      <dgm:prSet custT="1"/>
      <dgm:spPr/>
      <dgm:t>
        <a:bodyPr/>
        <a:lstStyle/>
        <a:p>
          <a:pPr marL="0" lvl="0" algn="ctr" defTabSz="1022350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endParaRPr lang="en-US" sz="1200" b="1" kern="1200" dirty="0"/>
        </a:p>
        <a:p>
          <a:pPr marL="0" lvl="0" algn="ctr" defTabSz="1022350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br>
            <a:rPr lang="en-US" sz="1200" b="1" kern="1200" dirty="0"/>
          </a:br>
          <a:r>
            <a:rPr lang="en-US" sz="2000" b="1" kern="1200" dirty="0"/>
            <a:t>Sales technology and enablement </a:t>
          </a:r>
        </a:p>
      </dgm:t>
    </dgm:pt>
    <dgm:pt modelId="{AD070D9C-FF01-4005-8FF7-BE3D1F27B20E}" type="parTrans" cxnId="{3D2175C0-235C-4F6F-BA5B-86C1878FCC0D}">
      <dgm:prSet/>
      <dgm:spPr/>
      <dgm:t>
        <a:bodyPr/>
        <a:lstStyle/>
        <a:p>
          <a:endParaRPr lang="en-US"/>
        </a:p>
      </dgm:t>
    </dgm:pt>
    <dgm:pt modelId="{76287765-B2A6-4F85-9AD4-B9332443B309}" type="sibTrans" cxnId="{3D2175C0-235C-4F6F-BA5B-86C1878FCC0D}">
      <dgm:prSet/>
      <dgm:spPr/>
      <dgm:t>
        <a:bodyPr/>
        <a:lstStyle/>
        <a:p>
          <a:endParaRPr lang="en-US"/>
        </a:p>
      </dgm:t>
    </dgm:pt>
    <dgm:pt modelId="{6E016A91-CEE9-4620-942D-E84EA1AB44E5}">
      <dgm:prSet custT="1"/>
      <dgm:spPr/>
      <dgm:t>
        <a:bodyPr/>
        <a:lstStyle/>
        <a:p>
          <a:pPr marL="0" lvl="1" indent="-114300" algn="ctr" defTabSz="533400">
            <a:lnSpc>
              <a:spcPct val="120000"/>
            </a:lnSpc>
            <a:spcBef>
              <a:spcPts val="1200"/>
            </a:spcBef>
            <a:spcAft>
              <a:spcPts val="1200"/>
            </a:spcAft>
            <a:buFont typeface="Wingdings" panose="05000000000000000000" pitchFamily="2" charset="2"/>
            <a:buChar char="ü"/>
          </a:pPr>
          <a:br>
            <a:rPr lang="en-US" sz="1600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br>
            <a:rPr lang="en-US" sz="1600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r>
            <a:rPr lang="en-US" sz="2000" b="1" kern="1200" dirty="0"/>
            <a:t>Seller</a:t>
          </a:r>
          <a:br>
            <a:rPr lang="en-US" sz="2000" b="1" kern="1200" dirty="0"/>
          </a:br>
          <a:r>
            <a:rPr lang="en-US" sz="2000" b="1" kern="1200" dirty="0"/>
            <a:t>upskilling</a:t>
          </a:r>
          <a:endParaRPr lang="en-US" sz="2000" kern="1200" dirty="0">
            <a:solidFill>
              <a:srgbClr val="FFFFFF"/>
            </a:solidFill>
            <a:latin typeface="Avenir Next LT Pro"/>
            <a:ea typeface="+mn-ea"/>
            <a:cs typeface="+mn-cs"/>
          </a:endParaRPr>
        </a:p>
      </dgm:t>
    </dgm:pt>
    <dgm:pt modelId="{54F464B3-BFA8-4B05-B45D-2A4028B97611}" type="parTrans" cxnId="{7D30CFBB-AE99-4D4E-BB53-9337AEABB2FF}">
      <dgm:prSet/>
      <dgm:spPr/>
      <dgm:t>
        <a:bodyPr/>
        <a:lstStyle/>
        <a:p>
          <a:endParaRPr lang="en-US"/>
        </a:p>
      </dgm:t>
    </dgm:pt>
    <dgm:pt modelId="{ED12B7CB-1358-445D-ABF4-61C39BB962B0}" type="sibTrans" cxnId="{7D30CFBB-AE99-4D4E-BB53-9337AEABB2FF}">
      <dgm:prSet/>
      <dgm:spPr/>
      <dgm:t>
        <a:bodyPr/>
        <a:lstStyle/>
        <a:p>
          <a:endParaRPr lang="en-US"/>
        </a:p>
      </dgm:t>
    </dgm:pt>
    <dgm:pt modelId="{E0E283C3-6D24-494D-98CD-F57D9ECDAC69}">
      <dgm:prSet custT="1"/>
      <dgm:spPr/>
      <dgm:t>
        <a:bodyPr/>
        <a:lstStyle/>
        <a:p>
          <a:pPr marL="0" algn="ctr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r>
            <a:rPr lang="en-US" sz="1200" kern="1200" dirty="0"/>
            <a:t>Strong GTM alignment ensures Marketing </a:t>
          </a:r>
          <a:br>
            <a:rPr lang="en-US" sz="1200" kern="1200" dirty="0"/>
          </a:br>
          <a:r>
            <a:rPr lang="en-US" sz="1200" kern="1200" dirty="0"/>
            <a:t>and Sales agree on what constitutes a quality lead and all roles understand their responsibilities in a successful Lead-to-Opportunity process for new logos. </a:t>
          </a:r>
          <a:r>
            <a:rPr lang="en-US" sz="1200" b="1" kern="1200" dirty="0"/>
            <a:t> </a:t>
          </a:r>
        </a:p>
      </dgm:t>
    </dgm:pt>
    <dgm:pt modelId="{84C14BEE-6776-4D09-AEF5-319CCCFB7780}" type="parTrans" cxnId="{8EEBFEA3-9C36-4086-B9D1-D87519CF871F}">
      <dgm:prSet/>
      <dgm:spPr/>
      <dgm:t>
        <a:bodyPr/>
        <a:lstStyle/>
        <a:p>
          <a:endParaRPr lang="en-US"/>
        </a:p>
      </dgm:t>
    </dgm:pt>
    <dgm:pt modelId="{B315EE8F-29B8-4134-90E4-B4063E1D4F29}" type="sibTrans" cxnId="{8EEBFEA3-9C36-4086-B9D1-D87519CF871F}">
      <dgm:prSet/>
      <dgm:spPr/>
      <dgm:t>
        <a:bodyPr/>
        <a:lstStyle/>
        <a:p>
          <a:endParaRPr lang="en-US"/>
        </a:p>
      </dgm:t>
    </dgm:pt>
    <dgm:pt modelId="{E497D2D4-2940-48D1-BAD7-F73DC7E19CF2}">
      <dgm:prSet custT="1"/>
      <dgm:spPr/>
      <dgm:t>
        <a:bodyPr/>
        <a:lstStyle/>
        <a:p>
          <a:pPr marL="0" lvl="0" algn="ctr" defTabSz="1022350">
            <a:lnSpc>
              <a:spcPct val="120000"/>
            </a:lnSpc>
            <a:spcBef>
              <a:spcPts val="1200"/>
            </a:spcBef>
            <a:spcAft>
              <a:spcPts val="1200"/>
            </a:spcAft>
            <a:buNone/>
          </a:pPr>
          <a:r>
            <a:rPr lang="en-US" sz="1200" kern="1200" dirty="0"/>
            <a:t>Modern prospecting methods require </a:t>
          </a:r>
          <a:br>
            <a:rPr lang="en-US" sz="1200" kern="1200" dirty="0"/>
          </a:br>
          <a:r>
            <a:rPr lang="en-US" sz="1200" kern="1200" dirty="0"/>
            <a:t>purpose-built sales technology to equip </a:t>
          </a:r>
          <a:br>
            <a:rPr lang="en-US" sz="1200" kern="1200" dirty="0"/>
          </a:br>
          <a:r>
            <a:rPr lang="en-US" sz="1200" kern="1200" dirty="0"/>
            <a:t>sellers with the knowledge and capabilities </a:t>
          </a:r>
          <a:br>
            <a:rPr lang="en-US" sz="1200" kern="1200" dirty="0"/>
          </a:br>
          <a:r>
            <a:rPr lang="en-US" sz="1200" kern="1200" dirty="0"/>
            <a:t>they need to execute at scale. </a:t>
          </a:r>
          <a:r>
            <a:rPr lang="en-US" sz="1200" b="1" kern="1200" dirty="0"/>
            <a:t> </a:t>
          </a:r>
        </a:p>
      </dgm:t>
    </dgm:pt>
    <dgm:pt modelId="{3BB80878-991A-4503-8148-08E26A9C1587}" type="parTrans" cxnId="{018525C9-92AF-497B-B0A5-F1E15993FE07}">
      <dgm:prSet/>
      <dgm:spPr/>
      <dgm:t>
        <a:bodyPr/>
        <a:lstStyle/>
        <a:p>
          <a:endParaRPr lang="en-US"/>
        </a:p>
      </dgm:t>
    </dgm:pt>
    <dgm:pt modelId="{3B5EF7B4-5CDB-48D3-A516-26BFD56DBF29}" type="sibTrans" cxnId="{018525C9-92AF-497B-B0A5-F1E15993FE07}">
      <dgm:prSet/>
      <dgm:spPr/>
      <dgm:t>
        <a:bodyPr/>
        <a:lstStyle/>
        <a:p>
          <a:endParaRPr lang="en-US"/>
        </a:p>
      </dgm:t>
    </dgm:pt>
    <dgm:pt modelId="{087337B8-E7B6-484B-9D57-A3E4F9B244D8}">
      <dgm:prSet custT="1"/>
      <dgm:spPr/>
      <dgm:t>
        <a:bodyPr/>
        <a:lstStyle/>
        <a:p>
          <a:pPr marL="0" lvl="1" indent="-114300" algn="ctr" defTabSz="533400">
            <a:lnSpc>
              <a:spcPct val="120000"/>
            </a:lnSpc>
            <a:spcBef>
              <a:spcPts val="1200"/>
            </a:spcBef>
            <a:spcAft>
              <a:spcPts val="1200"/>
            </a:spcAft>
            <a:buFont typeface="Wingdings" panose="05000000000000000000" pitchFamily="2" charset="2"/>
            <a:buNone/>
          </a:pPr>
          <a:r>
            <a:rPr lang="en-US" sz="1200" b="0" kern="1200" dirty="0"/>
            <a:t> Deliberate upskilling through </a:t>
          </a:r>
          <a:br>
            <a:rPr lang="en-US" sz="1200" b="0" kern="1200" dirty="0"/>
          </a:br>
          <a:r>
            <a:rPr lang="en-US" sz="1200" b="0" kern="1200" dirty="0"/>
            <a:t>onboarding, training, and coaching </a:t>
          </a:r>
          <a:br>
            <a:rPr lang="en-US" sz="1200" b="0" kern="1200" dirty="0"/>
          </a:br>
          <a:r>
            <a:rPr lang="en-US" sz="1200" b="0" kern="1200" dirty="0"/>
            <a:t>ensures sellers execute successfully </a:t>
          </a:r>
          <a:br>
            <a:rPr lang="en-US" sz="1200" b="0" kern="1200" dirty="0"/>
          </a:br>
          <a:r>
            <a:rPr lang="en-US" sz="1200" b="0" kern="1200" dirty="0"/>
            <a:t>and consistently to maximize selling </a:t>
          </a:r>
          <a:br>
            <a:rPr lang="en-US" sz="1200" b="0" kern="1200" dirty="0"/>
          </a:br>
          <a:r>
            <a:rPr lang="en-US" sz="1200" b="0" kern="1200" dirty="0"/>
            <a:t>time and lead conversion rates.</a:t>
          </a:r>
          <a:endParaRPr lang="en-US" sz="1200" b="0" kern="1200" dirty="0">
            <a:solidFill>
              <a:srgbClr val="FFFFFF"/>
            </a:solidFill>
            <a:latin typeface="Avenir Next LT Pro"/>
            <a:ea typeface="+mn-ea"/>
            <a:cs typeface="+mn-cs"/>
          </a:endParaRPr>
        </a:p>
      </dgm:t>
    </dgm:pt>
    <dgm:pt modelId="{3C6A08EE-6EF3-4F46-A642-647ECF5A49FE}" type="parTrans" cxnId="{1146E44C-FD3C-4FEE-800E-61A305593F83}">
      <dgm:prSet/>
      <dgm:spPr/>
      <dgm:t>
        <a:bodyPr/>
        <a:lstStyle/>
        <a:p>
          <a:endParaRPr lang="en-US"/>
        </a:p>
      </dgm:t>
    </dgm:pt>
    <dgm:pt modelId="{9194A255-ABF6-48C7-B1C6-9F02D0C9437E}" type="sibTrans" cxnId="{1146E44C-FD3C-4FEE-800E-61A305593F83}">
      <dgm:prSet/>
      <dgm:spPr/>
      <dgm:t>
        <a:bodyPr/>
        <a:lstStyle/>
        <a:p>
          <a:endParaRPr lang="en-US"/>
        </a:p>
      </dgm:t>
    </dgm:pt>
    <dgm:pt modelId="{45DC72A1-0D57-48ED-A82D-F89FF09A11C9}" type="pres">
      <dgm:prSet presAssocID="{482373E8-2B79-4FCF-A5DB-76F6F48D4B1D}" presName="diagram" presStyleCnt="0">
        <dgm:presLayoutVars>
          <dgm:dir/>
          <dgm:resizeHandles val="exact"/>
        </dgm:presLayoutVars>
      </dgm:prSet>
      <dgm:spPr/>
    </dgm:pt>
    <dgm:pt modelId="{58CE8F51-E6E8-4413-83FD-33C0C478F3E0}" type="pres">
      <dgm:prSet presAssocID="{C6AB205B-F868-4374-8388-FD84E00438DC}" presName="node" presStyleLbl="node1" presStyleIdx="0" presStyleCnt="3" custScaleY="173973">
        <dgm:presLayoutVars>
          <dgm:bulletEnabled val="1"/>
        </dgm:presLayoutVars>
      </dgm:prSet>
      <dgm:spPr/>
    </dgm:pt>
    <dgm:pt modelId="{7615738C-947D-4A0E-B002-68A39C33735C}" type="pres">
      <dgm:prSet presAssocID="{FA5968BF-8701-4F8E-B3B0-66A3568D57EA}" presName="sibTrans" presStyleCnt="0"/>
      <dgm:spPr/>
    </dgm:pt>
    <dgm:pt modelId="{FFAB6487-9C34-4D29-852B-939C1A3F65C0}" type="pres">
      <dgm:prSet presAssocID="{E89392A5-A32D-4025-B4E1-D8694F478B30}" presName="node" presStyleLbl="node1" presStyleIdx="1" presStyleCnt="3" custScaleY="173973">
        <dgm:presLayoutVars>
          <dgm:bulletEnabled val="1"/>
        </dgm:presLayoutVars>
      </dgm:prSet>
      <dgm:spPr/>
    </dgm:pt>
    <dgm:pt modelId="{5BE466B9-BD9B-4A3F-A398-9058F20F7C02}" type="pres">
      <dgm:prSet presAssocID="{76287765-B2A6-4F85-9AD4-B9332443B309}" presName="sibTrans" presStyleCnt="0"/>
      <dgm:spPr/>
    </dgm:pt>
    <dgm:pt modelId="{1917EA9F-8A72-42AA-81A0-506A8C0A336F}" type="pres">
      <dgm:prSet presAssocID="{6E016A91-CEE9-4620-942D-E84EA1AB44E5}" presName="node" presStyleLbl="node1" presStyleIdx="2" presStyleCnt="3" custScaleY="173973" custLinFactNeighborX="0" custLinFactNeighborY="0">
        <dgm:presLayoutVars>
          <dgm:bulletEnabled val="1"/>
        </dgm:presLayoutVars>
      </dgm:prSet>
      <dgm:spPr/>
    </dgm:pt>
  </dgm:ptLst>
  <dgm:cxnLst>
    <dgm:cxn modelId="{A6A23307-8BE8-4A92-ABC6-198FC72B952A}" type="presOf" srcId="{C6AB205B-F868-4374-8388-FD84E00438DC}" destId="{58CE8F51-E6E8-4413-83FD-33C0C478F3E0}" srcOrd="0" destOrd="0" presId="urn:microsoft.com/office/officeart/2005/8/layout/default"/>
    <dgm:cxn modelId="{91098713-B499-43EB-B169-89AC8F9CD8C7}" type="presOf" srcId="{E89392A5-A32D-4025-B4E1-D8694F478B30}" destId="{FFAB6487-9C34-4D29-852B-939C1A3F65C0}" srcOrd="0" destOrd="0" presId="urn:microsoft.com/office/officeart/2005/8/layout/default"/>
    <dgm:cxn modelId="{A1DC4D1F-E4CB-4F5C-992A-5C8ADE7F6A46}" type="presOf" srcId="{6E016A91-CEE9-4620-942D-E84EA1AB44E5}" destId="{1917EA9F-8A72-42AA-81A0-506A8C0A336F}" srcOrd="0" destOrd="0" presId="urn:microsoft.com/office/officeart/2005/8/layout/default"/>
    <dgm:cxn modelId="{1146E44C-FD3C-4FEE-800E-61A305593F83}" srcId="{6E016A91-CEE9-4620-942D-E84EA1AB44E5}" destId="{087337B8-E7B6-484B-9D57-A3E4F9B244D8}" srcOrd="0" destOrd="0" parTransId="{3C6A08EE-6EF3-4F46-A642-647ECF5A49FE}" sibTransId="{9194A255-ABF6-48C7-B1C6-9F02D0C9437E}"/>
    <dgm:cxn modelId="{D293FC4F-5B8F-4988-93FE-65F190B121ED}" type="presOf" srcId="{E497D2D4-2940-48D1-BAD7-F73DC7E19CF2}" destId="{FFAB6487-9C34-4D29-852B-939C1A3F65C0}" srcOrd="0" destOrd="1" presId="urn:microsoft.com/office/officeart/2005/8/layout/default"/>
    <dgm:cxn modelId="{469A0E98-4AED-4A73-A304-7B14F32C100D}" srcId="{482373E8-2B79-4FCF-A5DB-76F6F48D4B1D}" destId="{C6AB205B-F868-4374-8388-FD84E00438DC}" srcOrd="0" destOrd="0" parTransId="{5612BA6E-5EB8-43B6-BCC9-9730DA41205D}" sibTransId="{FA5968BF-8701-4F8E-B3B0-66A3568D57EA}"/>
    <dgm:cxn modelId="{8EEBFEA3-9C36-4086-B9D1-D87519CF871F}" srcId="{C6AB205B-F868-4374-8388-FD84E00438DC}" destId="{E0E283C3-6D24-494D-98CD-F57D9ECDAC69}" srcOrd="0" destOrd="0" parTransId="{84C14BEE-6776-4D09-AEF5-319CCCFB7780}" sibTransId="{B315EE8F-29B8-4134-90E4-B4063E1D4F29}"/>
    <dgm:cxn modelId="{7D30CFBB-AE99-4D4E-BB53-9337AEABB2FF}" srcId="{482373E8-2B79-4FCF-A5DB-76F6F48D4B1D}" destId="{6E016A91-CEE9-4620-942D-E84EA1AB44E5}" srcOrd="2" destOrd="0" parTransId="{54F464B3-BFA8-4B05-B45D-2A4028B97611}" sibTransId="{ED12B7CB-1358-445D-ABF4-61C39BB962B0}"/>
    <dgm:cxn modelId="{3D2175C0-235C-4F6F-BA5B-86C1878FCC0D}" srcId="{482373E8-2B79-4FCF-A5DB-76F6F48D4B1D}" destId="{E89392A5-A32D-4025-B4E1-D8694F478B30}" srcOrd="1" destOrd="0" parTransId="{AD070D9C-FF01-4005-8FF7-BE3D1F27B20E}" sibTransId="{76287765-B2A6-4F85-9AD4-B9332443B309}"/>
    <dgm:cxn modelId="{018525C9-92AF-497B-B0A5-F1E15993FE07}" srcId="{E89392A5-A32D-4025-B4E1-D8694F478B30}" destId="{E497D2D4-2940-48D1-BAD7-F73DC7E19CF2}" srcOrd="0" destOrd="0" parTransId="{3BB80878-991A-4503-8148-08E26A9C1587}" sibTransId="{3B5EF7B4-5CDB-48D3-A516-26BFD56DBF29}"/>
    <dgm:cxn modelId="{49F7CBD2-7FC8-4274-989A-7242590F98E7}" type="presOf" srcId="{482373E8-2B79-4FCF-A5DB-76F6F48D4B1D}" destId="{45DC72A1-0D57-48ED-A82D-F89FF09A11C9}" srcOrd="0" destOrd="0" presId="urn:microsoft.com/office/officeart/2005/8/layout/default"/>
    <dgm:cxn modelId="{DC3E3EE6-EB4F-42AC-9D59-5A229BF1913E}" type="presOf" srcId="{E0E283C3-6D24-494D-98CD-F57D9ECDAC69}" destId="{58CE8F51-E6E8-4413-83FD-33C0C478F3E0}" srcOrd="0" destOrd="1" presId="urn:microsoft.com/office/officeart/2005/8/layout/default"/>
    <dgm:cxn modelId="{DF3686E7-D9EC-4EEB-8012-0AB7A8C4690C}" type="presOf" srcId="{087337B8-E7B6-484B-9D57-A3E4F9B244D8}" destId="{1917EA9F-8A72-42AA-81A0-506A8C0A336F}" srcOrd="0" destOrd="1" presId="urn:microsoft.com/office/officeart/2005/8/layout/default"/>
    <dgm:cxn modelId="{1FE6C98A-A76A-42D2-8207-3A2F66421961}" type="presParOf" srcId="{45DC72A1-0D57-48ED-A82D-F89FF09A11C9}" destId="{58CE8F51-E6E8-4413-83FD-33C0C478F3E0}" srcOrd="0" destOrd="0" presId="urn:microsoft.com/office/officeart/2005/8/layout/default"/>
    <dgm:cxn modelId="{BA80B143-D882-4D03-B16C-DE0E57FDDF13}" type="presParOf" srcId="{45DC72A1-0D57-48ED-A82D-F89FF09A11C9}" destId="{7615738C-947D-4A0E-B002-68A39C33735C}" srcOrd="1" destOrd="0" presId="urn:microsoft.com/office/officeart/2005/8/layout/default"/>
    <dgm:cxn modelId="{B52ACE3A-A782-47C2-AF04-21232788DB69}" type="presParOf" srcId="{45DC72A1-0D57-48ED-A82D-F89FF09A11C9}" destId="{FFAB6487-9C34-4D29-852B-939C1A3F65C0}" srcOrd="2" destOrd="0" presId="urn:microsoft.com/office/officeart/2005/8/layout/default"/>
    <dgm:cxn modelId="{D83E98A7-08DD-4320-A947-E4C26788726A}" type="presParOf" srcId="{45DC72A1-0D57-48ED-A82D-F89FF09A11C9}" destId="{5BE466B9-BD9B-4A3F-A398-9058F20F7C02}" srcOrd="3" destOrd="0" presId="urn:microsoft.com/office/officeart/2005/8/layout/default"/>
    <dgm:cxn modelId="{95DE2A94-9DC7-4FBC-8337-E676BA93A901}" type="presParOf" srcId="{45DC72A1-0D57-48ED-A82D-F89FF09A11C9}" destId="{1917EA9F-8A72-42AA-81A0-506A8C0A336F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B873AD8-3C51-4F56-A0AC-7478567679FB}" type="doc">
      <dgm:prSet loTypeId="urn:microsoft.com/office/officeart/2005/8/layout/target2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34D25DC-ADFC-4202-A861-C3E67E90348C}">
      <dgm:prSet/>
      <dgm:spPr/>
      <dgm:t>
        <a:bodyPr/>
        <a:lstStyle/>
        <a:p>
          <a:r>
            <a:rPr lang="en-US" dirty="0"/>
            <a:t>Effective seller prospecting</a:t>
          </a:r>
        </a:p>
      </dgm:t>
    </dgm:pt>
    <dgm:pt modelId="{7DD76C59-B0F9-4455-A220-DACA2BE2443A}" type="parTrans" cxnId="{34880E71-E10A-41EE-9C2B-19ED57D48856}">
      <dgm:prSet/>
      <dgm:spPr/>
      <dgm:t>
        <a:bodyPr/>
        <a:lstStyle/>
        <a:p>
          <a:endParaRPr lang="en-US"/>
        </a:p>
      </dgm:t>
    </dgm:pt>
    <dgm:pt modelId="{AE7D2E63-65E7-4A1A-9582-11BB19D76D86}" type="sibTrans" cxnId="{34880E71-E10A-41EE-9C2B-19ED57D48856}">
      <dgm:prSet/>
      <dgm:spPr/>
      <dgm:t>
        <a:bodyPr/>
        <a:lstStyle/>
        <a:p>
          <a:endParaRPr lang="en-US"/>
        </a:p>
      </dgm:t>
    </dgm:pt>
    <dgm:pt modelId="{D51DA943-22C3-4A26-AABF-5B5E0AF047E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GTM alignment</a:t>
          </a:r>
        </a:p>
      </dgm:t>
    </dgm:pt>
    <dgm:pt modelId="{0B1B6F6C-C578-4B3F-89C6-81E424F38062}" type="parTrans" cxnId="{204CADE1-4080-4482-B854-5010A119CACD}">
      <dgm:prSet/>
      <dgm:spPr/>
      <dgm:t>
        <a:bodyPr/>
        <a:lstStyle/>
        <a:p>
          <a:endParaRPr lang="en-US"/>
        </a:p>
      </dgm:t>
    </dgm:pt>
    <dgm:pt modelId="{1DC465A7-02D8-4F67-901D-57798F0924E9}" type="sibTrans" cxnId="{204CADE1-4080-4482-B854-5010A119CACD}">
      <dgm:prSet/>
      <dgm:spPr/>
      <dgm:t>
        <a:bodyPr/>
        <a:lstStyle/>
        <a:p>
          <a:endParaRPr lang="en-US"/>
        </a:p>
      </dgm:t>
    </dgm:pt>
    <dgm:pt modelId="{EF61635E-5506-43AD-A188-449D6C63964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ales technology &amp; enablement</a:t>
          </a:r>
        </a:p>
      </dgm:t>
    </dgm:pt>
    <dgm:pt modelId="{50D19CF8-8255-4DF2-83D3-DDBE30A4E195}" type="parTrans" cxnId="{5CA4AE75-935A-4E00-AE02-3C964E95E0EA}">
      <dgm:prSet/>
      <dgm:spPr/>
      <dgm:t>
        <a:bodyPr/>
        <a:lstStyle/>
        <a:p>
          <a:endParaRPr lang="en-US"/>
        </a:p>
      </dgm:t>
    </dgm:pt>
    <dgm:pt modelId="{5C1F3003-0031-4DD6-B5B3-8C3048A3FF7E}" type="sibTrans" cxnId="{5CA4AE75-935A-4E00-AE02-3C964E95E0EA}">
      <dgm:prSet/>
      <dgm:spPr/>
      <dgm:t>
        <a:bodyPr/>
        <a:lstStyle/>
        <a:p>
          <a:endParaRPr lang="en-US"/>
        </a:p>
      </dgm:t>
    </dgm:pt>
    <dgm:pt modelId="{25FD1356-2D43-4ADE-A4C1-F311101587D9}">
      <dgm:prSet/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en-US" dirty="0"/>
            <a:t>Seller</a:t>
          </a:r>
          <a:br>
            <a:rPr lang="en-US" dirty="0"/>
          </a:br>
          <a:r>
            <a:rPr lang="en-US" dirty="0"/>
            <a:t>upskilling</a:t>
          </a:r>
        </a:p>
      </dgm:t>
    </dgm:pt>
    <dgm:pt modelId="{655CC0A2-AB66-41AB-80D8-D3E547A4EC76}" type="parTrans" cxnId="{42AD3C1F-0771-4352-847A-D81459A11876}">
      <dgm:prSet/>
      <dgm:spPr/>
      <dgm:t>
        <a:bodyPr/>
        <a:lstStyle/>
        <a:p>
          <a:endParaRPr lang="en-US"/>
        </a:p>
      </dgm:t>
    </dgm:pt>
    <dgm:pt modelId="{E0868051-8F2A-4E9F-8B8F-148E17FE5236}" type="sibTrans" cxnId="{42AD3C1F-0771-4352-847A-D81459A11876}">
      <dgm:prSet/>
      <dgm:spPr/>
      <dgm:t>
        <a:bodyPr/>
        <a:lstStyle/>
        <a:p>
          <a:endParaRPr lang="en-US"/>
        </a:p>
      </dgm:t>
    </dgm:pt>
    <dgm:pt modelId="{AABDBB1B-C554-431B-889C-ED363711EF82}" type="pres">
      <dgm:prSet presAssocID="{3B873AD8-3C51-4F56-A0AC-7478567679FB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</dgm:pt>
    <dgm:pt modelId="{8BF4CD4A-998D-4116-B140-6219432D1F8D}" type="pres">
      <dgm:prSet presAssocID="{3B873AD8-3C51-4F56-A0AC-7478567679FB}" presName="outerBox" presStyleCnt="0"/>
      <dgm:spPr/>
    </dgm:pt>
    <dgm:pt modelId="{00DD1CDD-DE02-4A2D-B135-F3452D3B7CAE}" type="pres">
      <dgm:prSet presAssocID="{3B873AD8-3C51-4F56-A0AC-7478567679FB}" presName="outerBoxParent" presStyleLbl="node1" presStyleIdx="0" presStyleCnt="1"/>
      <dgm:spPr/>
    </dgm:pt>
    <dgm:pt modelId="{6868BF20-9F58-4DD6-941E-47385EFD8B22}" type="pres">
      <dgm:prSet presAssocID="{3B873AD8-3C51-4F56-A0AC-7478567679FB}" presName="outerBoxChildren" presStyleCnt="0"/>
      <dgm:spPr/>
    </dgm:pt>
    <dgm:pt modelId="{43674890-BA6B-447D-BFEC-195F2A452D0F}" type="pres">
      <dgm:prSet presAssocID="{D51DA943-22C3-4A26-AABF-5B5E0AF047E4}" presName="oChild" presStyleLbl="fgAcc1" presStyleIdx="0" presStyleCnt="3">
        <dgm:presLayoutVars>
          <dgm:bulletEnabled val="1"/>
        </dgm:presLayoutVars>
      </dgm:prSet>
      <dgm:spPr/>
    </dgm:pt>
    <dgm:pt modelId="{A12052EA-EB99-44A1-86FB-D502DACAAD5B}" type="pres">
      <dgm:prSet presAssocID="{1DC465A7-02D8-4F67-901D-57798F0924E9}" presName="outerSibTrans" presStyleCnt="0"/>
      <dgm:spPr/>
    </dgm:pt>
    <dgm:pt modelId="{FE5DBDD0-48B1-4904-81B9-A4274A1406B3}" type="pres">
      <dgm:prSet presAssocID="{EF61635E-5506-43AD-A188-449D6C63964A}" presName="oChild" presStyleLbl="fgAcc1" presStyleIdx="1" presStyleCnt="3">
        <dgm:presLayoutVars>
          <dgm:bulletEnabled val="1"/>
        </dgm:presLayoutVars>
      </dgm:prSet>
      <dgm:spPr/>
    </dgm:pt>
    <dgm:pt modelId="{2AE68211-3406-48E4-8CF2-3CFFC105ED06}" type="pres">
      <dgm:prSet presAssocID="{5C1F3003-0031-4DD6-B5B3-8C3048A3FF7E}" presName="outerSibTrans" presStyleCnt="0"/>
      <dgm:spPr/>
    </dgm:pt>
    <dgm:pt modelId="{EEA1EB4A-FEDE-460C-BB47-F0F39ABB4C73}" type="pres">
      <dgm:prSet presAssocID="{25FD1356-2D43-4ADE-A4C1-F311101587D9}" presName="oChild" presStyleLbl="fgAcc1" presStyleIdx="2" presStyleCnt="3">
        <dgm:presLayoutVars>
          <dgm:bulletEnabled val="1"/>
        </dgm:presLayoutVars>
      </dgm:prSet>
      <dgm:spPr/>
    </dgm:pt>
  </dgm:ptLst>
  <dgm:cxnLst>
    <dgm:cxn modelId="{B109FB07-C6D4-478D-89D7-2F5F7B342A1C}" type="presOf" srcId="{EF61635E-5506-43AD-A188-449D6C63964A}" destId="{FE5DBDD0-48B1-4904-81B9-A4274A1406B3}" srcOrd="0" destOrd="0" presId="urn:microsoft.com/office/officeart/2005/8/layout/target2"/>
    <dgm:cxn modelId="{42AD3C1F-0771-4352-847A-D81459A11876}" srcId="{F34D25DC-ADFC-4202-A861-C3E67E90348C}" destId="{25FD1356-2D43-4ADE-A4C1-F311101587D9}" srcOrd="2" destOrd="0" parTransId="{655CC0A2-AB66-41AB-80D8-D3E547A4EC76}" sibTransId="{E0868051-8F2A-4E9F-8B8F-148E17FE5236}"/>
    <dgm:cxn modelId="{1A0E173F-71F8-434B-968B-1C74449AD4EF}" type="presOf" srcId="{F34D25DC-ADFC-4202-A861-C3E67E90348C}" destId="{00DD1CDD-DE02-4A2D-B135-F3452D3B7CAE}" srcOrd="0" destOrd="0" presId="urn:microsoft.com/office/officeart/2005/8/layout/target2"/>
    <dgm:cxn modelId="{34880E71-E10A-41EE-9C2B-19ED57D48856}" srcId="{3B873AD8-3C51-4F56-A0AC-7478567679FB}" destId="{F34D25DC-ADFC-4202-A861-C3E67E90348C}" srcOrd="0" destOrd="0" parTransId="{7DD76C59-B0F9-4455-A220-DACA2BE2443A}" sibTransId="{AE7D2E63-65E7-4A1A-9582-11BB19D76D86}"/>
    <dgm:cxn modelId="{5CA4AE75-935A-4E00-AE02-3C964E95E0EA}" srcId="{F34D25DC-ADFC-4202-A861-C3E67E90348C}" destId="{EF61635E-5506-43AD-A188-449D6C63964A}" srcOrd="1" destOrd="0" parTransId="{50D19CF8-8255-4DF2-83D3-DDBE30A4E195}" sibTransId="{5C1F3003-0031-4DD6-B5B3-8C3048A3FF7E}"/>
    <dgm:cxn modelId="{FB11B094-5B69-49A0-9440-4B3944526064}" type="presOf" srcId="{25FD1356-2D43-4ADE-A4C1-F311101587D9}" destId="{EEA1EB4A-FEDE-460C-BB47-F0F39ABB4C73}" srcOrd="0" destOrd="0" presId="urn:microsoft.com/office/officeart/2005/8/layout/target2"/>
    <dgm:cxn modelId="{D838FEE0-F847-4550-AB47-58B6040E2921}" type="presOf" srcId="{3B873AD8-3C51-4F56-A0AC-7478567679FB}" destId="{AABDBB1B-C554-431B-889C-ED363711EF82}" srcOrd="0" destOrd="0" presId="urn:microsoft.com/office/officeart/2005/8/layout/target2"/>
    <dgm:cxn modelId="{204CADE1-4080-4482-B854-5010A119CACD}" srcId="{F34D25DC-ADFC-4202-A861-C3E67E90348C}" destId="{D51DA943-22C3-4A26-AABF-5B5E0AF047E4}" srcOrd="0" destOrd="0" parTransId="{0B1B6F6C-C578-4B3F-89C6-81E424F38062}" sibTransId="{1DC465A7-02D8-4F67-901D-57798F0924E9}"/>
    <dgm:cxn modelId="{6FF56EEE-7749-444E-9BCF-E3968C3FFB2C}" type="presOf" srcId="{D51DA943-22C3-4A26-AABF-5B5E0AF047E4}" destId="{43674890-BA6B-447D-BFEC-195F2A452D0F}" srcOrd="0" destOrd="0" presId="urn:microsoft.com/office/officeart/2005/8/layout/target2"/>
    <dgm:cxn modelId="{D88EDFE2-0316-42E6-9131-B6860BFF236D}" type="presParOf" srcId="{AABDBB1B-C554-431B-889C-ED363711EF82}" destId="{8BF4CD4A-998D-4116-B140-6219432D1F8D}" srcOrd="0" destOrd="0" presId="urn:microsoft.com/office/officeart/2005/8/layout/target2"/>
    <dgm:cxn modelId="{B0E7CC46-BE2D-4C1A-94CC-A499869BD9D2}" type="presParOf" srcId="{8BF4CD4A-998D-4116-B140-6219432D1F8D}" destId="{00DD1CDD-DE02-4A2D-B135-F3452D3B7CAE}" srcOrd="0" destOrd="0" presId="urn:microsoft.com/office/officeart/2005/8/layout/target2"/>
    <dgm:cxn modelId="{8F255CBD-7C98-4B1D-94D4-20BA66D251E1}" type="presParOf" srcId="{8BF4CD4A-998D-4116-B140-6219432D1F8D}" destId="{6868BF20-9F58-4DD6-941E-47385EFD8B22}" srcOrd="1" destOrd="0" presId="urn:microsoft.com/office/officeart/2005/8/layout/target2"/>
    <dgm:cxn modelId="{9B964010-6180-403E-B387-1A9E4B4F4F55}" type="presParOf" srcId="{6868BF20-9F58-4DD6-941E-47385EFD8B22}" destId="{43674890-BA6B-447D-BFEC-195F2A452D0F}" srcOrd="0" destOrd="0" presId="urn:microsoft.com/office/officeart/2005/8/layout/target2"/>
    <dgm:cxn modelId="{40DE0DE5-811C-47F6-B1C0-BFBF33273882}" type="presParOf" srcId="{6868BF20-9F58-4DD6-941E-47385EFD8B22}" destId="{A12052EA-EB99-44A1-86FB-D502DACAAD5B}" srcOrd="1" destOrd="0" presId="urn:microsoft.com/office/officeart/2005/8/layout/target2"/>
    <dgm:cxn modelId="{B78B9EDC-5CF2-48BF-B2B2-30891E3A8139}" type="presParOf" srcId="{6868BF20-9F58-4DD6-941E-47385EFD8B22}" destId="{FE5DBDD0-48B1-4904-81B9-A4274A1406B3}" srcOrd="2" destOrd="0" presId="urn:microsoft.com/office/officeart/2005/8/layout/target2"/>
    <dgm:cxn modelId="{859D47C4-245A-4CC5-8C38-6F1FBE7FBAFB}" type="presParOf" srcId="{6868BF20-9F58-4DD6-941E-47385EFD8B22}" destId="{2AE68211-3406-48E4-8CF2-3CFFC105ED06}" srcOrd="3" destOrd="0" presId="urn:microsoft.com/office/officeart/2005/8/layout/target2"/>
    <dgm:cxn modelId="{0D98090F-DF6E-4F65-B6B1-4151ED0BB2C1}" type="presParOf" srcId="{6868BF20-9F58-4DD6-941E-47385EFD8B22}" destId="{EEA1EB4A-FEDE-460C-BB47-F0F39ABB4C73}" srcOrd="4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45F9EB-4EF9-41D8-828A-D3B613F4C9F3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C6A9BA6-2DC2-4D8E-B29E-CD27B986E274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Increased SAL to Opportunity conversion</a:t>
          </a:r>
        </a:p>
      </dgm:t>
    </dgm:pt>
    <dgm:pt modelId="{EFE2EEC4-3D10-40B4-936E-8CEE53334686}" type="parTrans" cxnId="{4F37219F-7DFF-4920-8D6C-40A63FDE00F7}">
      <dgm:prSet/>
      <dgm:spPr/>
      <dgm:t>
        <a:bodyPr/>
        <a:lstStyle/>
        <a:p>
          <a:endParaRPr lang="en-US"/>
        </a:p>
      </dgm:t>
    </dgm:pt>
    <dgm:pt modelId="{A9BAC72B-98FD-4E89-AD77-F70A084D3257}" type="sibTrans" cxnId="{4F37219F-7DFF-4920-8D6C-40A63FDE00F7}">
      <dgm:prSet/>
      <dgm:spPr/>
      <dgm:t>
        <a:bodyPr/>
        <a:lstStyle/>
        <a:p>
          <a:endParaRPr lang="en-US"/>
        </a:p>
      </dgm:t>
    </dgm:pt>
    <dgm:pt modelId="{430E812F-BD18-4E2F-BEA3-CA1530A9D5C9}">
      <dgm:prSet/>
      <dgm:spPr/>
      <dgm:t>
        <a:bodyPr/>
        <a:lstStyle/>
        <a:p>
          <a:r>
            <a:rPr lang="en-US" dirty="0"/>
            <a:t>Shorter sales cycles </a:t>
          </a:r>
          <a:br>
            <a:rPr lang="en-US" dirty="0"/>
          </a:br>
          <a:r>
            <a:rPr lang="en-US" dirty="0"/>
            <a:t>for new logos</a:t>
          </a:r>
        </a:p>
      </dgm:t>
    </dgm:pt>
    <dgm:pt modelId="{7FBAB8C6-C866-44A0-BD29-F71F0265440E}" type="parTrans" cxnId="{0B3BF4D1-FB74-4C2E-B890-EC3FBDE081CE}">
      <dgm:prSet/>
      <dgm:spPr/>
      <dgm:t>
        <a:bodyPr/>
        <a:lstStyle/>
        <a:p>
          <a:endParaRPr lang="en-US"/>
        </a:p>
      </dgm:t>
    </dgm:pt>
    <dgm:pt modelId="{A6F5152F-C405-4A64-A8CD-C9989CE1BA5E}" type="sibTrans" cxnId="{0B3BF4D1-FB74-4C2E-B890-EC3FBDE081CE}">
      <dgm:prSet/>
      <dgm:spPr/>
      <dgm:t>
        <a:bodyPr/>
        <a:lstStyle/>
        <a:p>
          <a:endParaRPr lang="en-US"/>
        </a:p>
      </dgm:t>
    </dgm:pt>
    <dgm:pt modelId="{7DE01498-260D-4D2E-B544-248F69B497BD}">
      <dgm:prSet/>
      <dgm:spPr/>
      <dgm:t>
        <a:bodyPr/>
        <a:lstStyle/>
        <a:p>
          <a:r>
            <a:rPr lang="en-US" dirty="0"/>
            <a:t>Higher win rates </a:t>
          </a:r>
          <a:br>
            <a:rPr lang="en-US" dirty="0"/>
          </a:br>
          <a:r>
            <a:rPr lang="en-US" dirty="0"/>
            <a:t>for new logos</a:t>
          </a:r>
        </a:p>
      </dgm:t>
    </dgm:pt>
    <dgm:pt modelId="{1756E41A-640C-42AB-959D-092DDB619803}" type="parTrans" cxnId="{1BF86C6C-479F-46E3-B65F-15A92E2952F5}">
      <dgm:prSet/>
      <dgm:spPr/>
      <dgm:t>
        <a:bodyPr/>
        <a:lstStyle/>
        <a:p>
          <a:endParaRPr lang="en-US"/>
        </a:p>
      </dgm:t>
    </dgm:pt>
    <dgm:pt modelId="{D9BCDB98-ECDF-4F4D-8691-9A1F449C9E68}" type="sibTrans" cxnId="{1BF86C6C-479F-46E3-B65F-15A92E2952F5}">
      <dgm:prSet/>
      <dgm:spPr/>
      <dgm:t>
        <a:bodyPr/>
        <a:lstStyle/>
        <a:p>
          <a:endParaRPr lang="en-US"/>
        </a:p>
      </dgm:t>
    </dgm:pt>
    <dgm:pt modelId="{05EDA286-8A7F-4871-A3AF-CBB6D4B75B99}">
      <dgm:prSet/>
      <dgm:spPr/>
      <dgm:t>
        <a:bodyPr/>
        <a:lstStyle/>
        <a:p>
          <a:r>
            <a:rPr lang="en-US" dirty="0"/>
            <a:t>Lower CAC / </a:t>
          </a:r>
          <a:br>
            <a:rPr lang="en-US" dirty="0"/>
          </a:br>
          <a:r>
            <a:rPr lang="en-US" dirty="0"/>
            <a:t>Higher CLTV</a:t>
          </a:r>
        </a:p>
      </dgm:t>
    </dgm:pt>
    <dgm:pt modelId="{44D6D7A2-FF70-4E61-9210-130D812FA6FF}" type="parTrans" cxnId="{59F72FAF-3F30-42B8-A59A-8A8A3DD5DA67}">
      <dgm:prSet/>
      <dgm:spPr/>
      <dgm:t>
        <a:bodyPr/>
        <a:lstStyle/>
        <a:p>
          <a:endParaRPr lang="en-US"/>
        </a:p>
      </dgm:t>
    </dgm:pt>
    <dgm:pt modelId="{E12E59B7-50EE-4BC6-ADB4-8F16B420A192}" type="sibTrans" cxnId="{59F72FAF-3F30-42B8-A59A-8A8A3DD5DA67}">
      <dgm:prSet/>
      <dgm:spPr/>
      <dgm:t>
        <a:bodyPr/>
        <a:lstStyle/>
        <a:p>
          <a:endParaRPr lang="en-US"/>
        </a:p>
      </dgm:t>
    </dgm:pt>
    <dgm:pt modelId="{A928762E-CF71-4EFD-833B-D77DDDCD309C}" type="pres">
      <dgm:prSet presAssocID="{9145F9EB-4EF9-41D8-828A-D3B613F4C9F3}" presName="Name0" presStyleCnt="0">
        <dgm:presLayoutVars>
          <dgm:dir/>
          <dgm:animLvl val="lvl"/>
          <dgm:resizeHandles val="exact"/>
        </dgm:presLayoutVars>
      </dgm:prSet>
      <dgm:spPr/>
    </dgm:pt>
    <dgm:pt modelId="{E4B92F94-C287-46B3-B67A-4AC9991C912C}" type="pres">
      <dgm:prSet presAssocID="{FC6A9BA6-2DC2-4D8E-B29E-CD27B986E274}" presName="linNode" presStyleCnt="0"/>
      <dgm:spPr/>
    </dgm:pt>
    <dgm:pt modelId="{1E5982C6-1DDC-4922-833A-907F6C43B565}" type="pres">
      <dgm:prSet presAssocID="{FC6A9BA6-2DC2-4D8E-B29E-CD27B986E274}" presName="parentText" presStyleLbl="node1" presStyleIdx="0" presStyleCnt="4" custScaleX="130890" custScaleY="35155" custLinFactNeighborX="51761" custLinFactNeighborY="-2">
        <dgm:presLayoutVars>
          <dgm:chMax val="1"/>
          <dgm:bulletEnabled val="1"/>
        </dgm:presLayoutVars>
      </dgm:prSet>
      <dgm:spPr/>
    </dgm:pt>
    <dgm:pt modelId="{FED7C92A-D5B5-4356-8149-3C82A10008A5}" type="pres">
      <dgm:prSet presAssocID="{A9BAC72B-98FD-4E89-AD77-F70A084D3257}" presName="sp" presStyleCnt="0"/>
      <dgm:spPr/>
    </dgm:pt>
    <dgm:pt modelId="{7CA72DA8-1904-4604-9792-2D6547611BBA}" type="pres">
      <dgm:prSet presAssocID="{430E812F-BD18-4E2F-BEA3-CA1530A9D5C9}" presName="linNode" presStyleCnt="0"/>
      <dgm:spPr/>
    </dgm:pt>
    <dgm:pt modelId="{6D022284-5E3B-43B4-8E91-9605578C5FEF}" type="pres">
      <dgm:prSet presAssocID="{430E812F-BD18-4E2F-BEA3-CA1530A9D5C9}" presName="parentText" presStyleLbl="node1" presStyleIdx="1" presStyleCnt="4" custScaleX="130890" custScaleY="35155" custLinFactNeighborX="51761" custLinFactNeighborY="-2">
        <dgm:presLayoutVars>
          <dgm:chMax val="1"/>
          <dgm:bulletEnabled val="1"/>
        </dgm:presLayoutVars>
      </dgm:prSet>
      <dgm:spPr/>
    </dgm:pt>
    <dgm:pt modelId="{956F6AFD-7F0A-4F10-8A4F-C8E5E51389F4}" type="pres">
      <dgm:prSet presAssocID="{A6F5152F-C405-4A64-A8CD-C9989CE1BA5E}" presName="sp" presStyleCnt="0"/>
      <dgm:spPr/>
    </dgm:pt>
    <dgm:pt modelId="{BBBE37B9-9970-4646-B1C6-C2359E04EB68}" type="pres">
      <dgm:prSet presAssocID="{7DE01498-260D-4D2E-B544-248F69B497BD}" presName="linNode" presStyleCnt="0"/>
      <dgm:spPr/>
    </dgm:pt>
    <dgm:pt modelId="{BB68CD47-68EB-4A81-827D-8D1289B9FCD9}" type="pres">
      <dgm:prSet presAssocID="{7DE01498-260D-4D2E-B544-248F69B497BD}" presName="parentText" presStyleLbl="node1" presStyleIdx="2" presStyleCnt="4" custScaleX="130890" custScaleY="35155" custLinFactNeighborX="51761" custLinFactNeighborY="-2">
        <dgm:presLayoutVars>
          <dgm:chMax val="1"/>
          <dgm:bulletEnabled val="1"/>
        </dgm:presLayoutVars>
      </dgm:prSet>
      <dgm:spPr/>
    </dgm:pt>
    <dgm:pt modelId="{43CC33A0-E6E1-4908-B022-C6D106C62324}" type="pres">
      <dgm:prSet presAssocID="{D9BCDB98-ECDF-4F4D-8691-9A1F449C9E68}" presName="sp" presStyleCnt="0"/>
      <dgm:spPr/>
    </dgm:pt>
    <dgm:pt modelId="{4990FAB2-4FEC-44EF-A018-82358DB82530}" type="pres">
      <dgm:prSet presAssocID="{05EDA286-8A7F-4871-A3AF-CBB6D4B75B99}" presName="linNode" presStyleCnt="0"/>
      <dgm:spPr/>
    </dgm:pt>
    <dgm:pt modelId="{6C0300D6-4FED-4B87-82DE-FAC81DA65D44}" type="pres">
      <dgm:prSet presAssocID="{05EDA286-8A7F-4871-A3AF-CBB6D4B75B99}" presName="parentText" presStyleLbl="node1" presStyleIdx="3" presStyleCnt="4" custScaleX="130890" custScaleY="35155" custLinFactNeighborX="51761" custLinFactNeighborY="2">
        <dgm:presLayoutVars>
          <dgm:chMax val="1"/>
          <dgm:bulletEnabled val="1"/>
        </dgm:presLayoutVars>
      </dgm:prSet>
      <dgm:spPr/>
    </dgm:pt>
  </dgm:ptLst>
  <dgm:cxnLst>
    <dgm:cxn modelId="{767BAB0D-4847-4C19-90AC-74D327C8D661}" type="presOf" srcId="{05EDA286-8A7F-4871-A3AF-CBB6D4B75B99}" destId="{6C0300D6-4FED-4B87-82DE-FAC81DA65D44}" srcOrd="0" destOrd="0" presId="urn:microsoft.com/office/officeart/2005/8/layout/vList5"/>
    <dgm:cxn modelId="{4C54A83C-BA41-4F6E-A162-91F851221D95}" type="presOf" srcId="{430E812F-BD18-4E2F-BEA3-CA1530A9D5C9}" destId="{6D022284-5E3B-43B4-8E91-9605578C5FEF}" srcOrd="0" destOrd="0" presId="urn:microsoft.com/office/officeart/2005/8/layout/vList5"/>
    <dgm:cxn modelId="{1BF86C6C-479F-46E3-B65F-15A92E2952F5}" srcId="{9145F9EB-4EF9-41D8-828A-D3B613F4C9F3}" destId="{7DE01498-260D-4D2E-B544-248F69B497BD}" srcOrd="2" destOrd="0" parTransId="{1756E41A-640C-42AB-959D-092DDB619803}" sibTransId="{D9BCDB98-ECDF-4F4D-8691-9A1F449C9E68}"/>
    <dgm:cxn modelId="{BA3F887E-04F7-4C33-8015-7CE17025DD01}" type="presOf" srcId="{9145F9EB-4EF9-41D8-828A-D3B613F4C9F3}" destId="{A928762E-CF71-4EFD-833B-D77DDDCD309C}" srcOrd="0" destOrd="0" presId="urn:microsoft.com/office/officeart/2005/8/layout/vList5"/>
    <dgm:cxn modelId="{4F37219F-7DFF-4920-8D6C-40A63FDE00F7}" srcId="{9145F9EB-4EF9-41D8-828A-D3B613F4C9F3}" destId="{FC6A9BA6-2DC2-4D8E-B29E-CD27B986E274}" srcOrd="0" destOrd="0" parTransId="{EFE2EEC4-3D10-40B4-936E-8CEE53334686}" sibTransId="{A9BAC72B-98FD-4E89-AD77-F70A084D3257}"/>
    <dgm:cxn modelId="{59F72FAF-3F30-42B8-A59A-8A8A3DD5DA67}" srcId="{9145F9EB-4EF9-41D8-828A-D3B613F4C9F3}" destId="{05EDA286-8A7F-4871-A3AF-CBB6D4B75B99}" srcOrd="3" destOrd="0" parTransId="{44D6D7A2-FF70-4E61-9210-130D812FA6FF}" sibTransId="{E12E59B7-50EE-4BC6-ADB4-8F16B420A192}"/>
    <dgm:cxn modelId="{2756BEBB-2CC6-4628-8579-6D71B18E2AE3}" type="presOf" srcId="{7DE01498-260D-4D2E-B544-248F69B497BD}" destId="{BB68CD47-68EB-4A81-827D-8D1289B9FCD9}" srcOrd="0" destOrd="0" presId="urn:microsoft.com/office/officeart/2005/8/layout/vList5"/>
    <dgm:cxn modelId="{0B3BF4D1-FB74-4C2E-B890-EC3FBDE081CE}" srcId="{9145F9EB-4EF9-41D8-828A-D3B613F4C9F3}" destId="{430E812F-BD18-4E2F-BEA3-CA1530A9D5C9}" srcOrd="1" destOrd="0" parTransId="{7FBAB8C6-C866-44A0-BD29-F71F0265440E}" sibTransId="{A6F5152F-C405-4A64-A8CD-C9989CE1BA5E}"/>
    <dgm:cxn modelId="{A3689FFB-5D88-423B-9BE7-DEF41DB46C6C}" type="presOf" srcId="{FC6A9BA6-2DC2-4D8E-B29E-CD27B986E274}" destId="{1E5982C6-1DDC-4922-833A-907F6C43B565}" srcOrd="0" destOrd="0" presId="urn:microsoft.com/office/officeart/2005/8/layout/vList5"/>
    <dgm:cxn modelId="{D491DB9D-9B33-4D84-8598-1722ECC7985C}" type="presParOf" srcId="{A928762E-CF71-4EFD-833B-D77DDDCD309C}" destId="{E4B92F94-C287-46B3-B67A-4AC9991C912C}" srcOrd="0" destOrd="0" presId="urn:microsoft.com/office/officeart/2005/8/layout/vList5"/>
    <dgm:cxn modelId="{C6664D08-9E25-45C3-86C7-D35ED9446397}" type="presParOf" srcId="{E4B92F94-C287-46B3-B67A-4AC9991C912C}" destId="{1E5982C6-1DDC-4922-833A-907F6C43B565}" srcOrd="0" destOrd="0" presId="urn:microsoft.com/office/officeart/2005/8/layout/vList5"/>
    <dgm:cxn modelId="{D7F95600-CCC8-48A0-9DC2-CA60763EB074}" type="presParOf" srcId="{A928762E-CF71-4EFD-833B-D77DDDCD309C}" destId="{FED7C92A-D5B5-4356-8149-3C82A10008A5}" srcOrd="1" destOrd="0" presId="urn:microsoft.com/office/officeart/2005/8/layout/vList5"/>
    <dgm:cxn modelId="{D29F2BBA-290D-41A6-83DD-9524DFC2F5C9}" type="presParOf" srcId="{A928762E-CF71-4EFD-833B-D77DDDCD309C}" destId="{7CA72DA8-1904-4604-9792-2D6547611BBA}" srcOrd="2" destOrd="0" presId="urn:microsoft.com/office/officeart/2005/8/layout/vList5"/>
    <dgm:cxn modelId="{F9E71761-5E71-4A70-B703-B1D1E542E5BA}" type="presParOf" srcId="{7CA72DA8-1904-4604-9792-2D6547611BBA}" destId="{6D022284-5E3B-43B4-8E91-9605578C5FEF}" srcOrd="0" destOrd="0" presId="urn:microsoft.com/office/officeart/2005/8/layout/vList5"/>
    <dgm:cxn modelId="{D7FED950-A02D-4745-874A-27CBE0F4D40D}" type="presParOf" srcId="{A928762E-CF71-4EFD-833B-D77DDDCD309C}" destId="{956F6AFD-7F0A-4F10-8A4F-C8E5E51389F4}" srcOrd="3" destOrd="0" presId="urn:microsoft.com/office/officeart/2005/8/layout/vList5"/>
    <dgm:cxn modelId="{7BB211AA-1C4C-49D3-B4DA-B6A9C463547A}" type="presParOf" srcId="{A928762E-CF71-4EFD-833B-D77DDDCD309C}" destId="{BBBE37B9-9970-4646-B1C6-C2359E04EB68}" srcOrd="4" destOrd="0" presId="urn:microsoft.com/office/officeart/2005/8/layout/vList5"/>
    <dgm:cxn modelId="{8C06C578-98B4-4ECE-B00E-5F6D5F515C95}" type="presParOf" srcId="{BBBE37B9-9970-4646-B1C6-C2359E04EB68}" destId="{BB68CD47-68EB-4A81-827D-8D1289B9FCD9}" srcOrd="0" destOrd="0" presId="urn:microsoft.com/office/officeart/2005/8/layout/vList5"/>
    <dgm:cxn modelId="{145CBBBC-467E-4F6B-B564-6B583F2BF1D9}" type="presParOf" srcId="{A928762E-CF71-4EFD-833B-D77DDDCD309C}" destId="{43CC33A0-E6E1-4908-B022-C6D106C62324}" srcOrd="5" destOrd="0" presId="urn:microsoft.com/office/officeart/2005/8/layout/vList5"/>
    <dgm:cxn modelId="{233B3CC2-77A1-4BAF-A9E5-F30084505271}" type="presParOf" srcId="{A928762E-CF71-4EFD-833B-D77DDDCD309C}" destId="{4990FAB2-4FEC-44EF-A018-82358DB82530}" srcOrd="6" destOrd="0" presId="urn:microsoft.com/office/officeart/2005/8/layout/vList5"/>
    <dgm:cxn modelId="{EE963583-2701-4236-AD12-C0DF8361BE34}" type="presParOf" srcId="{4990FAB2-4FEC-44EF-A018-82358DB82530}" destId="{6C0300D6-4FED-4B87-82DE-FAC81DA65D4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E8F51-E6E8-4413-83FD-33C0C478F3E0}">
      <dsp:nvSpPr>
        <dsp:cNvPr id="0" name=""/>
        <dsp:cNvSpPr/>
      </dsp:nvSpPr>
      <dsp:spPr>
        <a:xfrm>
          <a:off x="0" y="534629"/>
          <a:ext cx="3425715" cy="357589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ctr" defTabSz="48895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endParaRPr lang="en-US" sz="1100" b="1" kern="1200" dirty="0"/>
        </a:p>
        <a:p>
          <a:pPr marL="0" lvl="0" indent="0" algn="ctr" defTabSz="48895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br>
            <a:rPr lang="en-US" sz="1100" b="1" kern="1200" dirty="0"/>
          </a:br>
          <a: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  <a:t>Strong GTM </a:t>
          </a:r>
          <a:b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r>
            <a:rPr lang="en-US" sz="2000" b="1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  <a:t>alignment </a:t>
          </a:r>
        </a:p>
        <a:p>
          <a:pPr marL="0" lvl="1" indent="-114300" algn="ctr" defTabSz="53340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US" sz="1200" kern="1200" dirty="0"/>
            <a:t>Strong GTM alignment ensures Marketing </a:t>
          </a:r>
          <a:br>
            <a:rPr lang="en-US" sz="1200" kern="1200" dirty="0"/>
          </a:br>
          <a:r>
            <a:rPr lang="en-US" sz="1200" kern="1200" dirty="0"/>
            <a:t>and Sales agree on what constitutes a quality lead and all roles understand their responsibilities in a successful Lead-to-Opportunity process for new logos. </a:t>
          </a:r>
          <a:r>
            <a:rPr lang="en-US" sz="1200" b="1" kern="1200" dirty="0"/>
            <a:t> </a:t>
          </a:r>
        </a:p>
      </dsp:txBody>
      <dsp:txXfrm>
        <a:off x="0" y="534629"/>
        <a:ext cx="3425715" cy="3575892"/>
      </dsp:txXfrm>
    </dsp:sp>
    <dsp:sp modelId="{FFAB6487-9C34-4D29-852B-939C1A3F65C0}">
      <dsp:nvSpPr>
        <dsp:cNvPr id="0" name=""/>
        <dsp:cNvSpPr/>
      </dsp:nvSpPr>
      <dsp:spPr>
        <a:xfrm>
          <a:off x="3768287" y="534629"/>
          <a:ext cx="3425715" cy="357589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ctr" defTabSz="102235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endParaRPr lang="en-US" sz="1200" b="1" kern="1200" dirty="0"/>
        </a:p>
        <a:p>
          <a:pPr marL="0" lvl="0" indent="0" algn="ctr" defTabSz="102235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br>
            <a:rPr lang="en-US" sz="1200" b="1" kern="1200" dirty="0"/>
          </a:br>
          <a:r>
            <a:rPr lang="en-US" sz="2000" b="1" kern="1200" dirty="0"/>
            <a:t>Sales technology and enablement </a:t>
          </a:r>
        </a:p>
        <a:p>
          <a:pPr marL="0" lvl="0" indent="-114300" algn="ctr" defTabSz="1022350">
            <a:lnSpc>
              <a:spcPct val="12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US" sz="1200" kern="1200" dirty="0"/>
            <a:t>Modern prospecting methods require </a:t>
          </a:r>
          <a:br>
            <a:rPr lang="en-US" sz="1200" kern="1200" dirty="0"/>
          </a:br>
          <a:r>
            <a:rPr lang="en-US" sz="1200" kern="1200" dirty="0"/>
            <a:t>purpose-built sales technology to equip </a:t>
          </a:r>
          <a:br>
            <a:rPr lang="en-US" sz="1200" kern="1200" dirty="0"/>
          </a:br>
          <a:r>
            <a:rPr lang="en-US" sz="1200" kern="1200" dirty="0"/>
            <a:t>sellers with the knowledge and capabilities </a:t>
          </a:r>
          <a:br>
            <a:rPr lang="en-US" sz="1200" kern="1200" dirty="0"/>
          </a:br>
          <a:r>
            <a:rPr lang="en-US" sz="1200" kern="1200" dirty="0"/>
            <a:t>they need to execute at scale. </a:t>
          </a:r>
          <a:r>
            <a:rPr lang="en-US" sz="1200" b="1" kern="1200" dirty="0"/>
            <a:t> </a:t>
          </a:r>
        </a:p>
      </dsp:txBody>
      <dsp:txXfrm>
        <a:off x="3768287" y="534629"/>
        <a:ext cx="3425715" cy="3575892"/>
      </dsp:txXfrm>
    </dsp:sp>
    <dsp:sp modelId="{1917EA9F-8A72-42AA-81A0-506A8C0A336F}">
      <dsp:nvSpPr>
        <dsp:cNvPr id="0" name=""/>
        <dsp:cNvSpPr/>
      </dsp:nvSpPr>
      <dsp:spPr>
        <a:xfrm>
          <a:off x="7536574" y="534629"/>
          <a:ext cx="3425715" cy="357589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1" indent="-114300" algn="ctr" defTabSz="533400">
            <a:lnSpc>
              <a:spcPct val="120000"/>
            </a:lnSpc>
            <a:spcBef>
              <a:spcPct val="0"/>
            </a:spcBef>
            <a:spcAft>
              <a:spcPts val="1200"/>
            </a:spcAft>
            <a:buFont typeface="Wingdings" panose="05000000000000000000" pitchFamily="2" charset="2"/>
            <a:buNone/>
          </a:pPr>
          <a:br>
            <a:rPr lang="en-US" sz="1600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br>
            <a:rPr lang="en-US" sz="1600" kern="1200" dirty="0">
              <a:solidFill>
                <a:srgbClr val="FFFFFF"/>
              </a:solidFill>
              <a:latin typeface="Avenir Next LT Pro"/>
              <a:ea typeface="+mn-ea"/>
              <a:cs typeface="+mn-cs"/>
            </a:rPr>
          </a:br>
          <a:r>
            <a:rPr lang="en-US" sz="2000" b="1" kern="1200" dirty="0"/>
            <a:t>Seller</a:t>
          </a:r>
          <a:br>
            <a:rPr lang="en-US" sz="2000" b="1" kern="1200" dirty="0"/>
          </a:br>
          <a:r>
            <a:rPr lang="en-US" sz="2000" b="1" kern="1200" dirty="0"/>
            <a:t>upskilling</a:t>
          </a:r>
          <a:endParaRPr lang="en-US" sz="2000" kern="1200" dirty="0">
            <a:solidFill>
              <a:srgbClr val="FFFFFF"/>
            </a:solidFill>
            <a:latin typeface="Avenir Next LT Pro"/>
            <a:ea typeface="+mn-ea"/>
            <a:cs typeface="+mn-cs"/>
          </a:endParaRPr>
        </a:p>
        <a:p>
          <a:pPr marL="0" lvl="1" indent="-114300" algn="ctr" defTabSz="533400">
            <a:lnSpc>
              <a:spcPct val="120000"/>
            </a:lnSpc>
            <a:spcBef>
              <a:spcPct val="0"/>
            </a:spcBef>
            <a:spcAft>
              <a:spcPts val="1200"/>
            </a:spcAft>
            <a:buFont typeface="Wingdings" panose="05000000000000000000" pitchFamily="2" charset="2"/>
            <a:buNone/>
          </a:pPr>
          <a:r>
            <a:rPr lang="en-US" sz="1200" b="0" kern="1200" dirty="0"/>
            <a:t> Deliberate upskilling through </a:t>
          </a:r>
          <a:br>
            <a:rPr lang="en-US" sz="1200" b="0" kern="1200" dirty="0"/>
          </a:br>
          <a:r>
            <a:rPr lang="en-US" sz="1200" b="0" kern="1200" dirty="0"/>
            <a:t>onboarding, training, and coaching </a:t>
          </a:r>
          <a:br>
            <a:rPr lang="en-US" sz="1200" b="0" kern="1200" dirty="0"/>
          </a:br>
          <a:r>
            <a:rPr lang="en-US" sz="1200" b="0" kern="1200" dirty="0"/>
            <a:t>ensures sellers execute successfully </a:t>
          </a:r>
          <a:br>
            <a:rPr lang="en-US" sz="1200" b="0" kern="1200" dirty="0"/>
          </a:br>
          <a:r>
            <a:rPr lang="en-US" sz="1200" b="0" kern="1200" dirty="0"/>
            <a:t>and consistently to maximize selling </a:t>
          </a:r>
          <a:br>
            <a:rPr lang="en-US" sz="1200" b="0" kern="1200" dirty="0"/>
          </a:br>
          <a:r>
            <a:rPr lang="en-US" sz="1200" b="0" kern="1200" dirty="0"/>
            <a:t>time and lead conversion rates.</a:t>
          </a:r>
          <a:endParaRPr lang="en-US" sz="1200" b="0" kern="1200" dirty="0">
            <a:solidFill>
              <a:srgbClr val="FFFFFF"/>
            </a:solidFill>
            <a:latin typeface="Avenir Next LT Pro"/>
            <a:ea typeface="+mn-ea"/>
            <a:cs typeface="+mn-cs"/>
          </a:endParaRPr>
        </a:p>
      </dsp:txBody>
      <dsp:txXfrm>
        <a:off x="7536574" y="534629"/>
        <a:ext cx="3425715" cy="35758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DD1CDD-DE02-4A2D-B135-F3452D3B7CAE}">
      <dsp:nvSpPr>
        <dsp:cNvPr id="0" name=""/>
        <dsp:cNvSpPr/>
      </dsp:nvSpPr>
      <dsp:spPr>
        <a:xfrm>
          <a:off x="0" y="0"/>
          <a:ext cx="6486144" cy="3643009"/>
        </a:xfrm>
        <a:prstGeom prst="roundRect">
          <a:avLst>
            <a:gd name="adj" fmla="val 85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2249052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Effective seller prospecting</a:t>
          </a:r>
        </a:p>
      </dsp:txBody>
      <dsp:txXfrm>
        <a:off x="90695" y="90695"/>
        <a:ext cx="6304754" cy="3461619"/>
      </dsp:txXfrm>
    </dsp:sp>
    <dsp:sp modelId="{43674890-BA6B-447D-BFEC-195F2A452D0F}">
      <dsp:nvSpPr>
        <dsp:cNvPr id="0" name=""/>
        <dsp:cNvSpPr/>
      </dsp:nvSpPr>
      <dsp:spPr>
        <a:xfrm>
          <a:off x="162153" y="1639354"/>
          <a:ext cx="2030878" cy="1639354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GTM alignment</a:t>
          </a:r>
        </a:p>
      </dsp:txBody>
      <dsp:txXfrm>
        <a:off x="212569" y="1689770"/>
        <a:ext cx="1930046" cy="1538522"/>
      </dsp:txXfrm>
    </dsp:sp>
    <dsp:sp modelId="{FE5DBDD0-48B1-4904-81B9-A4274A1406B3}">
      <dsp:nvSpPr>
        <dsp:cNvPr id="0" name=""/>
        <dsp:cNvSpPr/>
      </dsp:nvSpPr>
      <dsp:spPr>
        <a:xfrm>
          <a:off x="2225098" y="1639354"/>
          <a:ext cx="2030878" cy="1639354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ales technology &amp; enablement</a:t>
          </a:r>
        </a:p>
      </dsp:txBody>
      <dsp:txXfrm>
        <a:off x="2275514" y="1689770"/>
        <a:ext cx="1930046" cy="1538522"/>
      </dsp:txXfrm>
    </dsp:sp>
    <dsp:sp modelId="{EEA1EB4A-FEDE-460C-BB47-F0F39ABB4C73}">
      <dsp:nvSpPr>
        <dsp:cNvPr id="0" name=""/>
        <dsp:cNvSpPr/>
      </dsp:nvSpPr>
      <dsp:spPr>
        <a:xfrm>
          <a:off x="4288044" y="1639354"/>
          <a:ext cx="2030878" cy="1639354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2200" kern="1200" dirty="0"/>
            <a:t>Seller</a:t>
          </a:r>
          <a:br>
            <a:rPr lang="en-US" sz="2200" kern="1200" dirty="0"/>
          </a:br>
          <a:r>
            <a:rPr lang="en-US" sz="2200" kern="1200" dirty="0"/>
            <a:t>upskilling</a:t>
          </a:r>
        </a:p>
      </dsp:txBody>
      <dsp:txXfrm>
        <a:off x="4338460" y="1689770"/>
        <a:ext cx="1930046" cy="15385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5982C6-1DDC-4922-833A-907F6C43B565}">
      <dsp:nvSpPr>
        <dsp:cNvPr id="0" name=""/>
        <dsp:cNvSpPr/>
      </dsp:nvSpPr>
      <dsp:spPr>
        <a:xfrm>
          <a:off x="2538587" y="0"/>
          <a:ext cx="2653855" cy="822949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creased SAL to Opportunity conversion</a:t>
          </a:r>
        </a:p>
      </dsp:txBody>
      <dsp:txXfrm>
        <a:off x="2578760" y="40173"/>
        <a:ext cx="2573509" cy="742603"/>
      </dsp:txXfrm>
    </dsp:sp>
    <dsp:sp modelId="{6D022284-5E3B-43B4-8E91-9605578C5FEF}">
      <dsp:nvSpPr>
        <dsp:cNvPr id="0" name=""/>
        <dsp:cNvSpPr/>
      </dsp:nvSpPr>
      <dsp:spPr>
        <a:xfrm>
          <a:off x="2538587" y="939985"/>
          <a:ext cx="2653855" cy="82294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horter sales cycles </a:t>
          </a:r>
          <a:br>
            <a:rPr lang="en-US" sz="1600" kern="1200" dirty="0"/>
          </a:br>
          <a:r>
            <a:rPr lang="en-US" sz="1600" kern="1200" dirty="0"/>
            <a:t>for new logos</a:t>
          </a:r>
        </a:p>
      </dsp:txBody>
      <dsp:txXfrm>
        <a:off x="2578760" y="980158"/>
        <a:ext cx="2573509" cy="742603"/>
      </dsp:txXfrm>
    </dsp:sp>
    <dsp:sp modelId="{BB68CD47-68EB-4A81-827D-8D1289B9FCD9}">
      <dsp:nvSpPr>
        <dsp:cNvPr id="0" name=""/>
        <dsp:cNvSpPr/>
      </dsp:nvSpPr>
      <dsp:spPr>
        <a:xfrm>
          <a:off x="2538587" y="1879980"/>
          <a:ext cx="2653855" cy="82294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Higher win rates </a:t>
          </a:r>
          <a:br>
            <a:rPr lang="en-US" sz="1600" kern="1200" dirty="0"/>
          </a:br>
          <a:r>
            <a:rPr lang="en-US" sz="1600" kern="1200" dirty="0"/>
            <a:t>for new logos</a:t>
          </a:r>
        </a:p>
      </dsp:txBody>
      <dsp:txXfrm>
        <a:off x="2578760" y="1920153"/>
        <a:ext cx="2573509" cy="742603"/>
      </dsp:txXfrm>
    </dsp:sp>
    <dsp:sp modelId="{6C0300D6-4FED-4B87-82DE-FAC81DA65D44}">
      <dsp:nvSpPr>
        <dsp:cNvPr id="0" name=""/>
        <dsp:cNvSpPr/>
      </dsp:nvSpPr>
      <dsp:spPr>
        <a:xfrm>
          <a:off x="2538587" y="2820059"/>
          <a:ext cx="2653855" cy="82294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ower CAC / </a:t>
          </a:r>
          <a:br>
            <a:rPr lang="en-US" sz="1600" kern="1200" dirty="0"/>
          </a:br>
          <a:r>
            <a:rPr lang="en-US" sz="1600" kern="1200" dirty="0"/>
            <a:t>Higher CLTV</a:t>
          </a:r>
        </a:p>
      </dsp:txBody>
      <dsp:txXfrm>
        <a:off x="2578760" y="2860232"/>
        <a:ext cx="2573509" cy="7426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780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173448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84852204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15910439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67999764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62688364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841692715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65836827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69964082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922345546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795837547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170123681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2827690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29352808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497433264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72293267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217291549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760826775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58062504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Page">
  <p:cSld name="1_Cover Pag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0"/>
          <p:cNvSpPr txBox="1">
            <a:spLocks noGrp="1"/>
          </p:cNvSpPr>
          <p:nvPr>
            <p:ph type="title"/>
          </p:nvPr>
        </p:nvSpPr>
        <p:spPr>
          <a:xfrm>
            <a:off x="984421" y="2182619"/>
            <a:ext cx="10647104" cy="187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2" name="Google Shape;22;p50"/>
          <p:cNvSpPr txBox="1">
            <a:spLocks noGrp="1"/>
          </p:cNvSpPr>
          <p:nvPr>
            <p:ph type="body" idx="1"/>
          </p:nvPr>
        </p:nvSpPr>
        <p:spPr>
          <a:xfrm>
            <a:off x="1012848" y="4231138"/>
            <a:ext cx="10647104" cy="31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288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">
  <p:cSld name="Section Divid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2"/>
          <p:cNvSpPr txBox="1">
            <a:spLocks noGrp="1"/>
          </p:cNvSpPr>
          <p:nvPr>
            <p:ph type="body" idx="1"/>
          </p:nvPr>
        </p:nvSpPr>
        <p:spPr>
          <a:xfrm>
            <a:off x="4924425" y="2547036"/>
            <a:ext cx="2343150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5806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9842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100857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362283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194917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9448191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05081575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27474592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04528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09" r:id="rId26"/>
    <p:sldLayoutId id="2147483810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emf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24.png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7.svg"/><Relationship Id="rId1" Type="http://schemas.openxmlformats.org/officeDocument/2006/relationships/tags" Target="../tags/tag30.xml"/><Relationship Id="rId6" Type="http://schemas.openxmlformats.org/officeDocument/2006/relationships/diagramData" Target="../diagrams/data1.xml"/><Relationship Id="rId11" Type="http://schemas.openxmlformats.org/officeDocument/2006/relationships/image" Target="../media/image22.png"/><Relationship Id="rId5" Type="http://schemas.openxmlformats.org/officeDocument/2006/relationships/image" Target="../media/image11.emf"/><Relationship Id="rId15" Type="http://schemas.openxmlformats.org/officeDocument/2006/relationships/image" Target="../media/image26.png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9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diagramColors" Target="../diagrams/colors3.xml"/><Relationship Id="rId3" Type="http://schemas.openxmlformats.org/officeDocument/2006/relationships/oleObject" Target="../embeddings/oleObject30.bin"/><Relationship Id="rId7" Type="http://schemas.openxmlformats.org/officeDocument/2006/relationships/diagramQuickStyle" Target="../diagrams/quickStyle2.xml"/><Relationship Id="rId12" Type="http://schemas.openxmlformats.org/officeDocument/2006/relationships/diagramQuickStyle" Target="../diagrams/quickStyl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diagramLayout" Target="../diagrams/layout2.xml"/><Relationship Id="rId11" Type="http://schemas.openxmlformats.org/officeDocument/2006/relationships/diagramLayout" Target="../diagrams/layout3.xml"/><Relationship Id="rId5" Type="http://schemas.openxmlformats.org/officeDocument/2006/relationships/diagramData" Target="../diagrams/data2.xml"/><Relationship Id="rId10" Type="http://schemas.openxmlformats.org/officeDocument/2006/relationships/diagramData" Target="../diagrams/data3.xml"/><Relationship Id="rId4" Type="http://schemas.openxmlformats.org/officeDocument/2006/relationships/image" Target="../media/image11.emf"/><Relationship Id="rId9" Type="http://schemas.microsoft.com/office/2007/relationships/diagramDrawing" Target="../diagrams/drawing2.xml"/><Relationship Id="rId14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BE25E8-B4A0-CAA0-D833-DEAC6A217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006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BE25E8-B4A0-CAA0-D833-DEAC6A217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592C9A-2923-003D-E7DB-2FC9C158B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10013754" cy="664797"/>
          </a:xfrm>
        </p:spPr>
        <p:txBody>
          <a:bodyPr vert="horz"/>
          <a:lstStyle/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Seller Prospecting Prime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75DDD04-CC53-F779-F831-CAB50A51E2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pplement to </a:t>
            </a:r>
            <a:r>
              <a:rPr lang="en-US" dirty="0">
                <a:solidFill>
                  <a:schemeClr val="accent4"/>
                </a:solidFill>
              </a:rPr>
              <a:t>Growth Project Guide to Seller Prospecting</a:t>
            </a:r>
          </a:p>
        </p:txBody>
      </p:sp>
    </p:spTree>
    <p:extLst>
      <p:ext uri="{BB962C8B-B14F-4D97-AF65-F5344CB8AC3E}">
        <p14:creationId xmlns:p14="http://schemas.microsoft.com/office/powerpoint/2010/main" val="1906600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6225C72-1A3E-DE2C-F06A-791ADFE0DD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48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225C72-1A3E-DE2C-F06A-791ADFE0D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C05199-F028-C26E-6F5A-C51914EF7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Poor prospecting e.g., bad seller habits, misaligned GTM teams, and insufficient technology and enablement can severely hinder new logo acquisition.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EA0FA5B-724E-32F1-5093-DF04645ACD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3017559"/>
              </p:ext>
            </p:extLst>
          </p:nvPr>
        </p:nvGraphicFramePr>
        <p:xfrm>
          <a:off x="609600" y="1412105"/>
          <a:ext cx="10972800" cy="4251960"/>
        </p:xfrm>
        <a:graphic>
          <a:graphicData uri="http://schemas.openxmlformats.org/drawingml/2006/table">
            <a:tbl>
              <a:tblPr firstRow="1" bandRow="1"/>
              <a:tblGrid>
                <a:gridCol w="4572000">
                  <a:extLst>
                    <a:ext uri="{9D8B030D-6E8A-4147-A177-3AD203B41FA5}">
                      <a16:colId xmlns:a16="http://schemas.microsoft.com/office/drawing/2014/main" val="3346509567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607275678"/>
                    </a:ext>
                  </a:extLst>
                </a:gridCol>
                <a:gridCol w="4572000">
                  <a:extLst>
                    <a:ext uri="{9D8B030D-6E8A-4147-A177-3AD203B41FA5}">
                      <a16:colId xmlns:a16="http://schemas.microsoft.com/office/drawing/2014/main" val="98686067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Poor prospecting </a:t>
                      </a:r>
                    </a:p>
                  </a:txBody>
                  <a:tcPr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Negative impact on new logo acquisition</a:t>
                      </a:r>
                    </a:p>
                  </a:txBody>
                  <a:tcPr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10284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en-US" sz="1200" dirty="0">
                          <a:latin typeface="+mn-lt"/>
                        </a:rPr>
                        <a:t>GTM teams lack clear roles and responsibilities in the Lead-to-Opportunity process 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sz="1200">
                        <a:latin typeface="+mn-lt"/>
                      </a:endParaRP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Marketing leads are bumbled (or worse go unactioned), wasting campaign funds and loosing would-be customers 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50505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en-US" sz="1200" dirty="0">
                          <a:latin typeface="+mn-lt"/>
                        </a:rPr>
                        <a:t>Sellers waste time on low potential prospects because they lack buyer intel e.g., ICP, buyer personas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Sales cycles drag on and win rates suffer because sellers are targeting the wrong people in the wrong accounts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8788608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en-US" sz="1200" dirty="0">
                          <a:latin typeface="+mn-lt"/>
                        </a:rPr>
                        <a:t>Account Executives lack time to prospect due to multiple complex sales cycles or non-selling activities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Pipeline coverage declines because sellers aren’t converting leads to meetings or generating new opportunities 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8400965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Without training or coaching, sellers deliver mediocre messages that fail to resonate with prospects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Sellers miss opportunities (and potentially ruin future opportunities) to engage with prospective buyers 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2003788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en-US" sz="1200" dirty="0">
                          <a:latin typeface="+mn-lt"/>
                        </a:rPr>
                        <a:t>Sellers lack the tools or capacity to learn about prospects and execute personalized outreach at scale 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Sellers can’t generate enough opportunities to meet quotas and the organization fails to meet the revenue plan</a:t>
                      </a:r>
                    </a:p>
                  </a:txBody>
                  <a:tcPr marL="137160" marR="137160" marT="137160" marB="13716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336836"/>
                  </a:ext>
                </a:extLst>
              </a:tr>
            </a:tbl>
          </a:graphicData>
        </a:graphic>
      </p:graphicFrame>
      <p:pic>
        <p:nvPicPr>
          <p:cNvPr id="5" name="Graphic 4" descr="Badge 4 with solid fill">
            <a:extLst>
              <a:ext uri="{FF2B5EF4-FFF2-40B4-BE49-F238E27FC236}">
                <a16:creationId xmlns:a16="http://schemas.microsoft.com/office/drawing/2014/main" id="{28B39BB9-2399-0DCB-B417-1D9E12F1DA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" y="4243819"/>
            <a:ext cx="457200" cy="457200"/>
          </a:xfrm>
          <a:prstGeom prst="rect">
            <a:avLst/>
          </a:prstGeom>
        </p:spPr>
      </p:pic>
      <p:pic>
        <p:nvPicPr>
          <p:cNvPr id="6" name="Graphic 5" descr="Badge with solid fill">
            <a:extLst>
              <a:ext uri="{FF2B5EF4-FFF2-40B4-BE49-F238E27FC236}">
                <a16:creationId xmlns:a16="http://schemas.microsoft.com/office/drawing/2014/main" id="{101549C9-CAAA-781A-A894-D76F077935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9600" y="2645463"/>
            <a:ext cx="457200" cy="457200"/>
          </a:xfrm>
          <a:prstGeom prst="rect">
            <a:avLst/>
          </a:prstGeom>
        </p:spPr>
      </p:pic>
      <p:pic>
        <p:nvPicPr>
          <p:cNvPr id="7" name="Graphic 6" descr="Badge 3 with solid fill">
            <a:extLst>
              <a:ext uri="{FF2B5EF4-FFF2-40B4-BE49-F238E27FC236}">
                <a16:creationId xmlns:a16="http://schemas.microsoft.com/office/drawing/2014/main" id="{355F7375-60D0-B99A-40CC-4246DCC9EC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9600" y="3444641"/>
            <a:ext cx="457200" cy="457200"/>
          </a:xfrm>
          <a:prstGeom prst="rect">
            <a:avLst/>
          </a:prstGeom>
        </p:spPr>
      </p:pic>
      <p:pic>
        <p:nvPicPr>
          <p:cNvPr id="8" name="Graphic 7" descr="Badge 5 with solid fill">
            <a:extLst>
              <a:ext uri="{FF2B5EF4-FFF2-40B4-BE49-F238E27FC236}">
                <a16:creationId xmlns:a16="http://schemas.microsoft.com/office/drawing/2014/main" id="{05FBCEA5-4408-8164-EFCA-920FCA3D34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9600" y="5042995"/>
            <a:ext cx="457200" cy="457200"/>
          </a:xfrm>
          <a:prstGeom prst="rect">
            <a:avLst/>
          </a:prstGeom>
        </p:spPr>
      </p:pic>
      <p:pic>
        <p:nvPicPr>
          <p:cNvPr id="9" name="Graphic 8" descr="Badge 1 with solid fill">
            <a:extLst>
              <a:ext uri="{FF2B5EF4-FFF2-40B4-BE49-F238E27FC236}">
                <a16:creationId xmlns:a16="http://schemas.microsoft.com/office/drawing/2014/main" id="{CAD5FBF5-2D11-EDA1-A06A-A64BE573CD5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9600" y="1846285"/>
            <a:ext cx="457200" cy="457200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8B79D19E-CA16-5AA1-2B62-68D71F6E7CE6}"/>
              </a:ext>
            </a:extLst>
          </p:cNvPr>
          <p:cNvSpPr>
            <a:spLocks noChangeAspect="1"/>
          </p:cNvSpPr>
          <p:nvPr/>
        </p:nvSpPr>
        <p:spPr>
          <a:xfrm>
            <a:off x="5779770" y="1861757"/>
            <a:ext cx="685800" cy="4572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4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49620D75-ABC1-B368-62E3-B6E6D4894F1D}"/>
              </a:ext>
            </a:extLst>
          </p:cNvPr>
          <p:cNvSpPr>
            <a:spLocks noChangeAspect="1"/>
          </p:cNvSpPr>
          <p:nvPr/>
        </p:nvSpPr>
        <p:spPr>
          <a:xfrm>
            <a:off x="5779770" y="2660206"/>
            <a:ext cx="685800" cy="4572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4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9F175713-8596-C4B2-2573-8B37B7ED0B10}"/>
              </a:ext>
            </a:extLst>
          </p:cNvPr>
          <p:cNvSpPr>
            <a:spLocks noChangeAspect="1"/>
          </p:cNvSpPr>
          <p:nvPr/>
        </p:nvSpPr>
        <p:spPr>
          <a:xfrm>
            <a:off x="5779770" y="5055553"/>
            <a:ext cx="685800" cy="4572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4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9ACD19A-9B23-FFB5-7E0F-08786F584E41}"/>
              </a:ext>
            </a:extLst>
          </p:cNvPr>
          <p:cNvSpPr>
            <a:spLocks noChangeAspect="1"/>
          </p:cNvSpPr>
          <p:nvPr/>
        </p:nvSpPr>
        <p:spPr>
          <a:xfrm>
            <a:off x="5779770" y="4257104"/>
            <a:ext cx="685800" cy="4572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40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C27FF809-5C3A-68D1-9CB6-2C3E587E1144}"/>
              </a:ext>
            </a:extLst>
          </p:cNvPr>
          <p:cNvSpPr>
            <a:spLocks noChangeAspect="1"/>
          </p:cNvSpPr>
          <p:nvPr/>
        </p:nvSpPr>
        <p:spPr>
          <a:xfrm>
            <a:off x="5779770" y="3458655"/>
            <a:ext cx="685800" cy="4572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40"/>
          </a:p>
        </p:txBody>
      </p:sp>
    </p:spTree>
    <p:extLst>
      <p:ext uri="{BB962C8B-B14F-4D97-AF65-F5344CB8AC3E}">
        <p14:creationId xmlns:p14="http://schemas.microsoft.com/office/powerpoint/2010/main" val="3719928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282AEBB-4435-EE1E-C157-F5B7ABCA1F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857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82AEBB-4435-EE1E-C157-F5B7ABCA1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8B95B1-4971-1E8D-6F26-48366B08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ffective prospecting requires strong alignment across GTM teams, modern enablement tools, and continuous focus on seller upskilling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AD1A8B-9DFE-8B52-370B-641BE62AF91A}"/>
              </a:ext>
            </a:extLst>
          </p:cNvPr>
          <p:cNvSpPr txBox="1"/>
          <p:nvPr/>
        </p:nvSpPr>
        <p:spPr>
          <a:xfrm>
            <a:off x="609600" y="1153189"/>
            <a:ext cx="10962290" cy="6601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ensure sellers have the knowledge and resources to achieve new logo acquisition goals, </a:t>
            </a:r>
            <a:r>
              <a:rPr lang="en-US" sz="16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TM leaders should focus on three critical levers to improve seller performance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D2CD797-3FE3-D503-3BDD-D2126ACC90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173657"/>
              </p:ext>
            </p:extLst>
          </p:nvPr>
        </p:nvGraphicFramePr>
        <p:xfrm>
          <a:off x="620110" y="1537360"/>
          <a:ext cx="10962290" cy="4645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4" name="Graphic 13" descr="Badge 1 outline">
            <a:extLst>
              <a:ext uri="{FF2B5EF4-FFF2-40B4-BE49-F238E27FC236}">
                <a16:creationId xmlns:a16="http://schemas.microsoft.com/office/drawing/2014/main" id="{44EB7277-D800-CD4C-7106-F199EFF5FE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080823" y="2117051"/>
            <a:ext cx="548640" cy="548640"/>
          </a:xfrm>
          <a:prstGeom prst="rect">
            <a:avLst/>
          </a:prstGeom>
        </p:spPr>
      </p:pic>
      <p:pic>
        <p:nvPicPr>
          <p:cNvPr id="15" name="Graphic 14" descr="Badge outline">
            <a:extLst>
              <a:ext uri="{FF2B5EF4-FFF2-40B4-BE49-F238E27FC236}">
                <a16:creationId xmlns:a16="http://schemas.microsoft.com/office/drawing/2014/main" id="{0AB69C53-DD05-CA3B-F2D2-D535519E68F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26935" y="2117868"/>
            <a:ext cx="548640" cy="548640"/>
          </a:xfrm>
          <a:prstGeom prst="rect">
            <a:avLst/>
          </a:prstGeom>
        </p:spPr>
      </p:pic>
      <p:pic>
        <p:nvPicPr>
          <p:cNvPr id="17" name="Graphic 16" descr="Badge 3 outline">
            <a:extLst>
              <a:ext uri="{FF2B5EF4-FFF2-40B4-BE49-F238E27FC236}">
                <a16:creationId xmlns:a16="http://schemas.microsoft.com/office/drawing/2014/main" id="{1E28CBC9-55A8-AA91-2D85-D81C9066458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583557" y="2117868"/>
            <a:ext cx="5486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42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451EB4-B8E8-1600-3CC1-D6C9CA32C6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67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51EB4-B8E8-1600-3CC1-D6C9CA32C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264F0F-330E-F918-7E34-BB65330BB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TM leaders can realize better outcomes throughout the new logo acquisition process through more effective seller prospecting. 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9E72212-626F-2EDF-6E7A-A632E2694D7F}"/>
              </a:ext>
            </a:extLst>
          </p:cNvPr>
          <p:cNvGrpSpPr/>
          <p:nvPr/>
        </p:nvGrpSpPr>
        <p:grpSpPr>
          <a:xfrm>
            <a:off x="609600" y="1607495"/>
            <a:ext cx="10962290" cy="3643009"/>
            <a:chOff x="1200149" y="2057401"/>
            <a:chExt cx="10678750" cy="2743201"/>
          </a:xfrm>
        </p:grpSpPr>
        <p:graphicFrame>
          <p:nvGraphicFramePr>
            <p:cNvPr id="43" name="Diagram 42">
              <a:extLst>
                <a:ext uri="{FF2B5EF4-FFF2-40B4-BE49-F238E27FC236}">
                  <a16:creationId xmlns:a16="http://schemas.microsoft.com/office/drawing/2014/main" id="{6F68E89F-E892-87AA-A7D3-B7E47481A78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44590317"/>
                </p:ext>
              </p:extLst>
            </p:nvPr>
          </p:nvGraphicFramePr>
          <p:xfrm>
            <a:off x="1200149" y="2057401"/>
            <a:ext cx="6318380" cy="274320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graphicFrame>
          <p:nvGraphicFramePr>
            <p:cNvPr id="44" name="Diagram 43">
              <a:extLst>
                <a:ext uri="{FF2B5EF4-FFF2-40B4-BE49-F238E27FC236}">
                  <a16:creationId xmlns:a16="http://schemas.microsoft.com/office/drawing/2014/main" id="{465A0982-65B0-6C4E-8C22-997F6ACB919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67102703"/>
                </p:ext>
              </p:extLst>
            </p:nvPr>
          </p:nvGraphicFramePr>
          <p:xfrm>
            <a:off x="6392499" y="2057401"/>
            <a:ext cx="5486400" cy="274320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45" name="Arrow: Right 44">
              <a:extLst>
                <a:ext uri="{FF2B5EF4-FFF2-40B4-BE49-F238E27FC236}">
                  <a16:creationId xmlns:a16="http://schemas.microsoft.com/office/drawing/2014/main" id="{9099BD94-EF34-7FA8-28CF-E5F12F6DD820}"/>
                </a:ext>
              </a:extLst>
            </p:cNvPr>
            <p:cNvSpPr/>
            <p:nvPr/>
          </p:nvSpPr>
          <p:spPr>
            <a:xfrm>
              <a:off x="7637295" y="2971801"/>
              <a:ext cx="1113219" cy="914400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6116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 xsi:nil="tru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2" ma:contentTypeDescription="Create a new document." ma:contentTypeScope="" ma:versionID="6e5d6c9c5829e93b1e9bab0aa37d09fa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a4f86593e92907eb38362053afadf1e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86FC5E-086F-4237-851A-474CEC7A38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4641B6-8B50-4877-AC99-FE4892E57CC7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b71745fe-8e84-41ad-935b-7c5d8babdf9e"/>
    <ds:schemaRef ds:uri="http://schemas.microsoft.com/office/infopath/2007/PartnerControls"/>
    <ds:schemaRef ds:uri="a3b0eac3-55b5-4ee4-ade7-be65d09c5d6e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1D8941A-5D1B-4180-A0AB-76AEE2B64C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66</TotalTime>
  <Words>407</Words>
  <Application>Microsoft Office PowerPoint</Application>
  <PresentationFormat>Widescreen</PresentationFormat>
  <Paragraphs>35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Wingdings</vt:lpstr>
      <vt:lpstr>Arial</vt:lpstr>
      <vt:lpstr>Courier New</vt:lpstr>
      <vt:lpstr>Avenir Next LT Pro</vt:lpstr>
      <vt:lpstr>Calibri</vt:lpstr>
      <vt:lpstr>SBI PPT</vt:lpstr>
      <vt:lpstr>think-cell Slide</vt:lpstr>
      <vt:lpstr>Seller Prospecting Primer</vt:lpstr>
      <vt:lpstr>Poor prospecting e.g., bad seller habits, misaligned GTM teams, and insufficient technology and enablement can severely hinder new logo acquisition.</vt:lpstr>
      <vt:lpstr>Effective prospecting requires strong alignment across GTM teams, modern enablement tools, and continuous focus on seller upskilling.</vt:lpstr>
      <vt:lpstr>GTM leaders can realize better outcomes throughout the new logo acquisition process through more effective seller prospecting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2 Motus Growth Execution</dc:title>
  <dc:creator>Yasmin Morrison</dc:creator>
  <cp:lastModifiedBy>Dave Lingebach</cp:lastModifiedBy>
  <cp:revision>7</cp:revision>
  <dcterms:created xsi:type="dcterms:W3CDTF">2021-10-07T02:40:02Z</dcterms:created>
  <dcterms:modified xsi:type="dcterms:W3CDTF">2023-08-15T01:1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  <property fmtid="{D5CDD505-2E9C-101B-9397-08002B2CF9AE}" pid="3" name="MediaServiceImageTags">
    <vt:lpwstr/>
  </property>
</Properties>
</file>